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Default Extension="mp4" ContentType="video/mp4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diagrams/data3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Masters/notesMaster1.xml" ContentType="application/vnd.openxmlformats-officedocument.presentationml.notesMaster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diagrams/drawing2.xml" ContentType="application/vnd.ms-office.drawingml.diagramDrawing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7.xml" ContentType="application/vnd.openxmlformats-officedocument.theme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theme/theme6.xml" ContentType="application/vnd.openxmlformats-officedocument.them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customXml/itemProps4.xml" ContentType="application/vnd.openxmlformats-officedocument.customXml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5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50" r:id="rId1"/>
    <p:sldMasterId id="2147484274" r:id="rId2"/>
    <p:sldMasterId id="2147484320" r:id="rId3"/>
    <p:sldMasterId id="2147484335" r:id="rId4"/>
    <p:sldMasterId id="2147484347" r:id="rId5"/>
    <p:sldMasterId id="2147484676" r:id="rId6"/>
    <p:sldMasterId id="2147484727" r:id="rId7"/>
    <p:sldMasterId id="2147484788" r:id="rId8"/>
    <p:sldMasterId id="2147484798" r:id="rId9"/>
    <p:sldMasterId id="2147484815" r:id="rId10"/>
  </p:sldMasterIdLst>
  <p:notesMasterIdLst>
    <p:notesMasterId r:id="rId24"/>
  </p:notesMasterIdLst>
  <p:sldIdLst>
    <p:sldId id="307" r:id="rId11"/>
    <p:sldId id="294" r:id="rId12"/>
    <p:sldId id="296" r:id="rId13"/>
    <p:sldId id="1557" r:id="rId14"/>
    <p:sldId id="1565" r:id="rId15"/>
    <p:sldId id="283" r:id="rId16"/>
    <p:sldId id="1558" r:id="rId17"/>
    <p:sldId id="1559" r:id="rId18"/>
    <p:sldId id="1560" r:id="rId19"/>
    <p:sldId id="1561" r:id="rId20"/>
    <p:sldId id="1562" r:id="rId21"/>
    <p:sldId id="1563" r:id="rId22"/>
    <p:sldId id="156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80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39" autoAdjust="0"/>
    <p:restoredTop sz="94434" autoAdjust="0"/>
  </p:normalViewPr>
  <p:slideViewPr>
    <p:cSldViewPr snapToGrid="0">
      <p:cViewPr varScale="1">
        <p:scale>
          <a:sx n="90" d="100"/>
          <a:sy n="90" d="100"/>
        </p:scale>
        <p:origin x="61" y="20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presProps" Target="presProps.xml"/><Relationship Id="rId33" Type="http://schemas.openxmlformats.org/officeDocument/2006/relationships/customXml" Target="../customXml/item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Relationship Id="rId8" Type="http://schemas.openxmlformats.org/officeDocument/2006/relationships/slideMaster" Target="slideMasters/slideMaster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05DA97-9792-4162-BE78-2CE7CA05B968}" type="doc">
      <dgm:prSet loTypeId="urn:microsoft.com/office/officeart/2005/8/layout/equation2" loCatId="process" qsTypeId="urn:microsoft.com/office/officeart/2005/8/quickstyle/3d3" qsCatId="3D" csTypeId="urn:microsoft.com/office/officeart/2005/8/colors/colorful3" csCatId="colorful" phldr="1"/>
      <dgm:spPr/>
    </dgm:pt>
    <dgm:pt modelId="{8E8E0E27-0B5E-423A-A090-143F60814723}">
      <dgm:prSet phldrT="[Tekst]"/>
      <dgm:spPr/>
      <dgm:t>
        <a:bodyPr/>
        <a:lstStyle/>
        <a:p>
          <a:r>
            <a:rPr lang="nl-NL" dirty="0"/>
            <a:t>Expertise</a:t>
          </a:r>
        </a:p>
      </dgm:t>
    </dgm:pt>
    <dgm:pt modelId="{2C9895E7-C1D1-49B7-B988-2715E5E4B890}" type="parTrans" cxnId="{176E8FDA-D6ED-4E3F-BA55-4AB2A57A33BA}">
      <dgm:prSet/>
      <dgm:spPr/>
      <dgm:t>
        <a:bodyPr/>
        <a:lstStyle/>
        <a:p>
          <a:endParaRPr lang="nl-NL"/>
        </a:p>
      </dgm:t>
    </dgm:pt>
    <dgm:pt modelId="{DCD7B671-4E8E-413D-BB0C-119F1B4190E7}" type="sibTrans" cxnId="{176E8FDA-D6ED-4E3F-BA55-4AB2A57A33BA}">
      <dgm:prSet/>
      <dgm:spPr/>
      <dgm:t>
        <a:bodyPr/>
        <a:lstStyle/>
        <a:p>
          <a:endParaRPr lang="nl-NL"/>
        </a:p>
      </dgm:t>
    </dgm:pt>
    <dgm:pt modelId="{A1858D28-1689-4CDC-BA1E-1F17D9480E6A}">
      <dgm:prSet phldrT="[Tekst]"/>
      <dgm:spPr/>
      <dgm:t>
        <a:bodyPr/>
        <a:lstStyle/>
        <a:p>
          <a:r>
            <a:rPr lang="nl-NL" dirty="0" err="1"/>
            <a:t>Behaviour</a:t>
          </a:r>
          <a:endParaRPr lang="nl-NL" dirty="0"/>
        </a:p>
      </dgm:t>
    </dgm:pt>
    <dgm:pt modelId="{9F92069D-8DD3-4CF0-A460-9ACB3DEC9F8B}" type="parTrans" cxnId="{2122426B-0542-4B5E-A368-B2FB156B8EDF}">
      <dgm:prSet/>
      <dgm:spPr/>
      <dgm:t>
        <a:bodyPr/>
        <a:lstStyle/>
        <a:p>
          <a:endParaRPr lang="nl-NL"/>
        </a:p>
      </dgm:t>
    </dgm:pt>
    <dgm:pt modelId="{28FE63DD-0454-4740-9872-4659734F9A93}" type="sibTrans" cxnId="{2122426B-0542-4B5E-A368-B2FB156B8EDF}">
      <dgm:prSet/>
      <dgm:spPr/>
      <dgm:t>
        <a:bodyPr/>
        <a:lstStyle/>
        <a:p>
          <a:endParaRPr lang="nl-NL"/>
        </a:p>
      </dgm:t>
    </dgm:pt>
    <dgm:pt modelId="{8BD8DFD5-63EA-49E1-ADB2-707E211736AB}">
      <dgm:prSet phldrT="[Tekst]"/>
      <dgm:spPr/>
      <dgm:t>
        <a:bodyPr/>
        <a:lstStyle/>
        <a:p>
          <a:r>
            <a:rPr lang="nl-NL" dirty="0" err="1"/>
            <a:t>Skill</a:t>
          </a:r>
          <a:endParaRPr lang="nl-NL" dirty="0"/>
        </a:p>
      </dgm:t>
    </dgm:pt>
    <dgm:pt modelId="{10DDAB8E-EC5E-4869-853C-B3A83B1222BD}" type="parTrans" cxnId="{7AC9A1B7-AC7F-4367-91AF-4784D5B40691}">
      <dgm:prSet/>
      <dgm:spPr/>
      <dgm:t>
        <a:bodyPr/>
        <a:lstStyle/>
        <a:p>
          <a:endParaRPr lang="nl-NL"/>
        </a:p>
      </dgm:t>
    </dgm:pt>
    <dgm:pt modelId="{0AA724C5-E60B-43F5-BC50-0A362A0EC786}" type="sibTrans" cxnId="{7AC9A1B7-AC7F-4367-91AF-4784D5B40691}">
      <dgm:prSet/>
      <dgm:spPr/>
      <dgm:t>
        <a:bodyPr/>
        <a:lstStyle/>
        <a:p>
          <a:endParaRPr lang="nl-NL"/>
        </a:p>
      </dgm:t>
    </dgm:pt>
    <dgm:pt modelId="{9335BABF-0B39-4252-BEBD-EA2E8390AB89}" type="pres">
      <dgm:prSet presAssocID="{5305DA97-9792-4162-BE78-2CE7CA05B968}" presName="Name0" presStyleCnt="0">
        <dgm:presLayoutVars>
          <dgm:dir/>
          <dgm:resizeHandles val="exact"/>
        </dgm:presLayoutVars>
      </dgm:prSet>
      <dgm:spPr/>
    </dgm:pt>
    <dgm:pt modelId="{8D67C2EE-C057-4DA1-B4D0-7FAB9F17985B}" type="pres">
      <dgm:prSet presAssocID="{5305DA97-9792-4162-BE78-2CE7CA05B968}" presName="vNodes" presStyleCnt="0"/>
      <dgm:spPr/>
    </dgm:pt>
    <dgm:pt modelId="{066A3953-55E5-414F-8C95-D03EB8EBC249}" type="pres">
      <dgm:prSet presAssocID="{8E8E0E27-0B5E-423A-A090-143F60814723}" presName="node" presStyleLbl="node1" presStyleIdx="0" presStyleCnt="3">
        <dgm:presLayoutVars>
          <dgm:bulletEnabled val="1"/>
        </dgm:presLayoutVars>
      </dgm:prSet>
      <dgm:spPr/>
    </dgm:pt>
    <dgm:pt modelId="{ED724696-05FF-4555-97C8-96912546397A}" type="pres">
      <dgm:prSet presAssocID="{DCD7B671-4E8E-413D-BB0C-119F1B4190E7}" presName="spacerT" presStyleCnt="0"/>
      <dgm:spPr/>
    </dgm:pt>
    <dgm:pt modelId="{C6D309F4-477A-4CAC-A909-17DAE1DB0AC3}" type="pres">
      <dgm:prSet presAssocID="{DCD7B671-4E8E-413D-BB0C-119F1B4190E7}" presName="sibTrans" presStyleLbl="sibTrans2D1" presStyleIdx="0" presStyleCnt="2"/>
      <dgm:spPr/>
    </dgm:pt>
    <dgm:pt modelId="{6748F471-3166-4723-8123-E6F117A301A0}" type="pres">
      <dgm:prSet presAssocID="{DCD7B671-4E8E-413D-BB0C-119F1B4190E7}" presName="spacerB" presStyleCnt="0"/>
      <dgm:spPr/>
    </dgm:pt>
    <dgm:pt modelId="{BD1FB971-F6A0-4EE6-A333-65C32063F180}" type="pres">
      <dgm:prSet presAssocID="{A1858D28-1689-4CDC-BA1E-1F17D9480E6A}" presName="node" presStyleLbl="node1" presStyleIdx="1" presStyleCnt="3">
        <dgm:presLayoutVars>
          <dgm:bulletEnabled val="1"/>
        </dgm:presLayoutVars>
      </dgm:prSet>
      <dgm:spPr/>
    </dgm:pt>
    <dgm:pt modelId="{CA6F45F0-35CF-4106-A7EC-38B6D9D3197A}" type="pres">
      <dgm:prSet presAssocID="{5305DA97-9792-4162-BE78-2CE7CA05B968}" presName="sibTransLast" presStyleLbl="sibTrans2D1" presStyleIdx="1" presStyleCnt="2"/>
      <dgm:spPr/>
    </dgm:pt>
    <dgm:pt modelId="{19A7C54F-D13B-4B86-BAFC-95F4DF88D0AD}" type="pres">
      <dgm:prSet presAssocID="{5305DA97-9792-4162-BE78-2CE7CA05B968}" presName="connectorText" presStyleLbl="sibTrans2D1" presStyleIdx="1" presStyleCnt="2"/>
      <dgm:spPr/>
    </dgm:pt>
    <dgm:pt modelId="{656256C3-BB75-4EEC-8287-502E9D9B233D}" type="pres">
      <dgm:prSet presAssocID="{5305DA97-9792-4162-BE78-2CE7CA05B968}" presName="lastNode" presStyleLbl="node1" presStyleIdx="2" presStyleCnt="3">
        <dgm:presLayoutVars>
          <dgm:bulletEnabled val="1"/>
        </dgm:presLayoutVars>
      </dgm:prSet>
      <dgm:spPr/>
    </dgm:pt>
  </dgm:ptLst>
  <dgm:cxnLst>
    <dgm:cxn modelId="{81E26D3D-0B46-46E7-BC80-C9E317CF9B95}" type="presOf" srcId="{DCD7B671-4E8E-413D-BB0C-119F1B4190E7}" destId="{C6D309F4-477A-4CAC-A909-17DAE1DB0AC3}" srcOrd="0" destOrd="0" presId="urn:microsoft.com/office/officeart/2005/8/layout/equation2"/>
    <dgm:cxn modelId="{2122426B-0542-4B5E-A368-B2FB156B8EDF}" srcId="{5305DA97-9792-4162-BE78-2CE7CA05B968}" destId="{A1858D28-1689-4CDC-BA1E-1F17D9480E6A}" srcOrd="1" destOrd="0" parTransId="{9F92069D-8DD3-4CF0-A460-9ACB3DEC9F8B}" sibTransId="{28FE63DD-0454-4740-9872-4659734F9A93}"/>
    <dgm:cxn modelId="{6675F956-88AF-4262-9C80-359153AFC729}" type="presOf" srcId="{28FE63DD-0454-4740-9872-4659734F9A93}" destId="{CA6F45F0-35CF-4106-A7EC-38B6D9D3197A}" srcOrd="0" destOrd="0" presId="urn:microsoft.com/office/officeart/2005/8/layout/equation2"/>
    <dgm:cxn modelId="{D5F73899-EDF9-4767-A125-42424E23C0B2}" type="presOf" srcId="{8E8E0E27-0B5E-423A-A090-143F60814723}" destId="{066A3953-55E5-414F-8C95-D03EB8EBC249}" srcOrd="0" destOrd="0" presId="urn:microsoft.com/office/officeart/2005/8/layout/equation2"/>
    <dgm:cxn modelId="{7AC9A1B7-AC7F-4367-91AF-4784D5B40691}" srcId="{5305DA97-9792-4162-BE78-2CE7CA05B968}" destId="{8BD8DFD5-63EA-49E1-ADB2-707E211736AB}" srcOrd="2" destOrd="0" parTransId="{10DDAB8E-EC5E-4869-853C-B3A83B1222BD}" sibTransId="{0AA724C5-E60B-43F5-BC50-0A362A0EC786}"/>
    <dgm:cxn modelId="{5C2D3EC3-5CBA-4A72-A443-7DB214986CF9}" type="presOf" srcId="{28FE63DD-0454-4740-9872-4659734F9A93}" destId="{19A7C54F-D13B-4B86-BAFC-95F4DF88D0AD}" srcOrd="1" destOrd="0" presId="urn:microsoft.com/office/officeart/2005/8/layout/equation2"/>
    <dgm:cxn modelId="{C2339DC4-4110-4ECE-97A9-F43F00073086}" type="presOf" srcId="{5305DA97-9792-4162-BE78-2CE7CA05B968}" destId="{9335BABF-0B39-4252-BEBD-EA2E8390AB89}" srcOrd="0" destOrd="0" presId="urn:microsoft.com/office/officeart/2005/8/layout/equation2"/>
    <dgm:cxn modelId="{176E8FDA-D6ED-4E3F-BA55-4AB2A57A33BA}" srcId="{5305DA97-9792-4162-BE78-2CE7CA05B968}" destId="{8E8E0E27-0B5E-423A-A090-143F60814723}" srcOrd="0" destOrd="0" parTransId="{2C9895E7-C1D1-49B7-B988-2715E5E4B890}" sibTransId="{DCD7B671-4E8E-413D-BB0C-119F1B4190E7}"/>
    <dgm:cxn modelId="{CBA2CADB-CB7A-489A-A21F-7715B99EDD69}" type="presOf" srcId="{A1858D28-1689-4CDC-BA1E-1F17D9480E6A}" destId="{BD1FB971-F6A0-4EE6-A333-65C32063F180}" srcOrd="0" destOrd="0" presId="urn:microsoft.com/office/officeart/2005/8/layout/equation2"/>
    <dgm:cxn modelId="{35A89CFD-16F2-4EFF-BF4B-54632D917D6D}" type="presOf" srcId="{8BD8DFD5-63EA-49E1-ADB2-707E211736AB}" destId="{656256C3-BB75-4EEC-8287-502E9D9B233D}" srcOrd="0" destOrd="0" presId="urn:microsoft.com/office/officeart/2005/8/layout/equation2"/>
    <dgm:cxn modelId="{69A70339-69CD-4A72-B9E5-11B758784DCD}" type="presParOf" srcId="{9335BABF-0B39-4252-BEBD-EA2E8390AB89}" destId="{8D67C2EE-C057-4DA1-B4D0-7FAB9F17985B}" srcOrd="0" destOrd="0" presId="urn:microsoft.com/office/officeart/2005/8/layout/equation2"/>
    <dgm:cxn modelId="{935F4DD7-F812-4062-8ACE-FF3CCB2E5C9A}" type="presParOf" srcId="{8D67C2EE-C057-4DA1-B4D0-7FAB9F17985B}" destId="{066A3953-55E5-414F-8C95-D03EB8EBC249}" srcOrd="0" destOrd="0" presId="urn:microsoft.com/office/officeart/2005/8/layout/equation2"/>
    <dgm:cxn modelId="{F4B7C1F6-B446-4CBE-80A7-A3671F6F6789}" type="presParOf" srcId="{8D67C2EE-C057-4DA1-B4D0-7FAB9F17985B}" destId="{ED724696-05FF-4555-97C8-96912546397A}" srcOrd="1" destOrd="0" presId="urn:microsoft.com/office/officeart/2005/8/layout/equation2"/>
    <dgm:cxn modelId="{737BE2CB-E16A-4A48-A725-0667D1AC77D1}" type="presParOf" srcId="{8D67C2EE-C057-4DA1-B4D0-7FAB9F17985B}" destId="{C6D309F4-477A-4CAC-A909-17DAE1DB0AC3}" srcOrd="2" destOrd="0" presId="urn:microsoft.com/office/officeart/2005/8/layout/equation2"/>
    <dgm:cxn modelId="{1E005560-2773-422C-A959-AF16949770FF}" type="presParOf" srcId="{8D67C2EE-C057-4DA1-B4D0-7FAB9F17985B}" destId="{6748F471-3166-4723-8123-E6F117A301A0}" srcOrd="3" destOrd="0" presId="urn:microsoft.com/office/officeart/2005/8/layout/equation2"/>
    <dgm:cxn modelId="{25ADD1CC-9B3D-433A-995F-37738682DE13}" type="presParOf" srcId="{8D67C2EE-C057-4DA1-B4D0-7FAB9F17985B}" destId="{BD1FB971-F6A0-4EE6-A333-65C32063F180}" srcOrd="4" destOrd="0" presId="urn:microsoft.com/office/officeart/2005/8/layout/equation2"/>
    <dgm:cxn modelId="{72249C82-190D-49C3-BEDD-939474CE5AFC}" type="presParOf" srcId="{9335BABF-0B39-4252-BEBD-EA2E8390AB89}" destId="{CA6F45F0-35CF-4106-A7EC-38B6D9D3197A}" srcOrd="1" destOrd="0" presId="urn:microsoft.com/office/officeart/2005/8/layout/equation2"/>
    <dgm:cxn modelId="{FB5CE722-9F37-438B-B6BC-DBEE55C55C3E}" type="presParOf" srcId="{CA6F45F0-35CF-4106-A7EC-38B6D9D3197A}" destId="{19A7C54F-D13B-4B86-BAFC-95F4DF88D0AD}" srcOrd="0" destOrd="0" presId="urn:microsoft.com/office/officeart/2005/8/layout/equation2"/>
    <dgm:cxn modelId="{9AF5411B-C544-4351-8893-5DB129F600B7}" type="presParOf" srcId="{9335BABF-0B39-4252-BEBD-EA2E8390AB89}" destId="{656256C3-BB75-4EEC-8287-502E9D9B233D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615316-1D00-4396-86EE-0A0FA05C5C3F}" type="doc">
      <dgm:prSet loTypeId="urn:microsoft.com/office/officeart/2005/8/layout/venn1" loCatId="relationship" qsTypeId="urn:microsoft.com/office/officeart/2005/8/quickstyle/simple1" qsCatId="simple" csTypeId="urn:microsoft.com/office/officeart/2005/8/colors/colorful3" csCatId="colorful" phldr="1"/>
      <dgm:spPr/>
    </dgm:pt>
    <dgm:pt modelId="{ED345E13-7A4F-4917-812C-172F7EA83B5A}">
      <dgm:prSet phldrT="[Tekst]"/>
      <dgm:spPr/>
      <dgm:t>
        <a:bodyPr/>
        <a:lstStyle/>
        <a:p>
          <a:pPr algn="ctr"/>
          <a:r>
            <a:rPr lang="nl-NL"/>
            <a:t>Personality</a:t>
          </a:r>
          <a:endParaRPr lang="nl-NL" dirty="0"/>
        </a:p>
      </dgm:t>
    </dgm:pt>
    <dgm:pt modelId="{0615271D-1E75-4E79-B454-DA1730222D15}" type="parTrans" cxnId="{6486222D-375D-43DE-8783-9ED5C646677C}">
      <dgm:prSet/>
      <dgm:spPr/>
      <dgm:t>
        <a:bodyPr/>
        <a:lstStyle/>
        <a:p>
          <a:endParaRPr lang="nl-NL"/>
        </a:p>
      </dgm:t>
    </dgm:pt>
    <dgm:pt modelId="{FBA7A194-8135-4B2E-9267-50367F4E9DD9}" type="sibTrans" cxnId="{6486222D-375D-43DE-8783-9ED5C646677C}">
      <dgm:prSet/>
      <dgm:spPr/>
      <dgm:t>
        <a:bodyPr/>
        <a:lstStyle/>
        <a:p>
          <a:endParaRPr lang="nl-NL"/>
        </a:p>
      </dgm:t>
    </dgm:pt>
    <dgm:pt modelId="{1C331BB4-25F4-4D1B-A3F5-5598B34A1746}">
      <dgm:prSet phldrT="[Tekst]"/>
      <dgm:spPr/>
      <dgm:t>
        <a:bodyPr/>
        <a:lstStyle/>
        <a:p>
          <a:pPr algn="ctr"/>
          <a:r>
            <a:rPr lang="nl-NL"/>
            <a:t>Temperament </a:t>
          </a:r>
          <a:endParaRPr lang="nl-NL" dirty="0"/>
        </a:p>
      </dgm:t>
    </dgm:pt>
    <dgm:pt modelId="{4E394625-29FF-4B4D-931F-EAE74D28E6B4}" type="parTrans" cxnId="{F9A7F02D-7974-4B98-AF31-D9E59404DA75}">
      <dgm:prSet/>
      <dgm:spPr/>
      <dgm:t>
        <a:bodyPr/>
        <a:lstStyle/>
        <a:p>
          <a:endParaRPr lang="nl-NL"/>
        </a:p>
      </dgm:t>
    </dgm:pt>
    <dgm:pt modelId="{183F08AC-04BD-4D1B-8718-F4BB5A1D5F99}" type="sibTrans" cxnId="{F9A7F02D-7974-4B98-AF31-D9E59404DA75}">
      <dgm:prSet/>
      <dgm:spPr/>
      <dgm:t>
        <a:bodyPr/>
        <a:lstStyle/>
        <a:p>
          <a:endParaRPr lang="nl-NL"/>
        </a:p>
      </dgm:t>
    </dgm:pt>
    <dgm:pt modelId="{B8D73C03-0287-47BE-9266-87B2EF1F6654}">
      <dgm:prSet phldrT="[Tekst]"/>
      <dgm:spPr/>
      <dgm:t>
        <a:bodyPr/>
        <a:lstStyle/>
        <a:p>
          <a:pPr algn="ctr"/>
          <a:r>
            <a:rPr lang="nl-NL"/>
            <a:t>Intuition</a:t>
          </a:r>
          <a:endParaRPr lang="nl-NL" dirty="0"/>
        </a:p>
      </dgm:t>
    </dgm:pt>
    <dgm:pt modelId="{ED065FE1-5AC4-4891-9273-835C666187DE}" type="parTrans" cxnId="{70688295-EEF7-4F54-AE21-332BB0E677B0}">
      <dgm:prSet/>
      <dgm:spPr/>
      <dgm:t>
        <a:bodyPr/>
        <a:lstStyle/>
        <a:p>
          <a:endParaRPr lang="nl-NL"/>
        </a:p>
      </dgm:t>
    </dgm:pt>
    <dgm:pt modelId="{1FA8FBAD-EF0B-4C3F-B2C7-980F76DC5E33}" type="sibTrans" cxnId="{70688295-EEF7-4F54-AE21-332BB0E677B0}">
      <dgm:prSet/>
      <dgm:spPr/>
      <dgm:t>
        <a:bodyPr/>
        <a:lstStyle/>
        <a:p>
          <a:endParaRPr lang="nl-NL"/>
        </a:p>
      </dgm:t>
    </dgm:pt>
    <dgm:pt modelId="{A0B9FC71-C76B-4974-B766-B9B3140CA02D}" type="pres">
      <dgm:prSet presAssocID="{12615316-1D00-4396-86EE-0A0FA05C5C3F}" presName="compositeShape" presStyleCnt="0">
        <dgm:presLayoutVars>
          <dgm:chMax val="7"/>
          <dgm:dir/>
          <dgm:resizeHandles val="exact"/>
        </dgm:presLayoutVars>
      </dgm:prSet>
      <dgm:spPr/>
    </dgm:pt>
    <dgm:pt modelId="{7B8C497B-B161-4C6B-BE18-AAE3F9B1A23B}" type="pres">
      <dgm:prSet presAssocID="{ED345E13-7A4F-4917-812C-172F7EA83B5A}" presName="circ1" presStyleLbl="vennNode1" presStyleIdx="0" presStyleCnt="3"/>
      <dgm:spPr/>
    </dgm:pt>
    <dgm:pt modelId="{1BC7C99B-769C-4C5F-8D6E-36EF90E9C039}" type="pres">
      <dgm:prSet presAssocID="{ED345E13-7A4F-4917-812C-172F7EA83B5A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40617E42-BAF7-41B4-BD87-836058590EEC}" type="pres">
      <dgm:prSet presAssocID="{1C331BB4-25F4-4D1B-A3F5-5598B34A1746}" presName="circ2" presStyleLbl="vennNode1" presStyleIdx="1" presStyleCnt="3" custLinFactNeighborX="2514" custLinFactNeighborY="414"/>
      <dgm:spPr/>
    </dgm:pt>
    <dgm:pt modelId="{7DC63EFB-146E-4B62-BAE1-85B2E074232E}" type="pres">
      <dgm:prSet presAssocID="{1C331BB4-25F4-4D1B-A3F5-5598B34A1746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4AF0792A-AC3C-4C4F-9A66-CA33D95372A5}" type="pres">
      <dgm:prSet presAssocID="{B8D73C03-0287-47BE-9266-87B2EF1F6654}" presName="circ3" presStyleLbl="vennNode1" presStyleIdx="2" presStyleCnt="3"/>
      <dgm:spPr/>
    </dgm:pt>
    <dgm:pt modelId="{D25B9A9A-BA8A-4E4C-9F54-68C47324BD43}" type="pres">
      <dgm:prSet presAssocID="{B8D73C03-0287-47BE-9266-87B2EF1F6654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8965061B-DA32-4EE3-B32B-320CF17F0374}" type="presOf" srcId="{ED345E13-7A4F-4917-812C-172F7EA83B5A}" destId="{1BC7C99B-769C-4C5F-8D6E-36EF90E9C039}" srcOrd="1" destOrd="0" presId="urn:microsoft.com/office/officeart/2005/8/layout/venn1"/>
    <dgm:cxn modelId="{2E0B5321-7ABE-49E2-A4AC-A509F957A654}" type="presOf" srcId="{B8D73C03-0287-47BE-9266-87B2EF1F6654}" destId="{D25B9A9A-BA8A-4E4C-9F54-68C47324BD43}" srcOrd="1" destOrd="0" presId="urn:microsoft.com/office/officeart/2005/8/layout/venn1"/>
    <dgm:cxn modelId="{4B70BF21-99FA-4440-A9C0-0398E532B55C}" type="presOf" srcId="{12615316-1D00-4396-86EE-0A0FA05C5C3F}" destId="{A0B9FC71-C76B-4974-B766-B9B3140CA02D}" srcOrd="0" destOrd="0" presId="urn:microsoft.com/office/officeart/2005/8/layout/venn1"/>
    <dgm:cxn modelId="{9305C624-D539-45D5-8EC8-C25DFE656222}" type="presOf" srcId="{1C331BB4-25F4-4D1B-A3F5-5598B34A1746}" destId="{40617E42-BAF7-41B4-BD87-836058590EEC}" srcOrd="0" destOrd="0" presId="urn:microsoft.com/office/officeart/2005/8/layout/venn1"/>
    <dgm:cxn modelId="{9AE19A29-4293-47B8-8059-803636D16E4D}" type="presOf" srcId="{B8D73C03-0287-47BE-9266-87B2EF1F6654}" destId="{4AF0792A-AC3C-4C4F-9A66-CA33D95372A5}" srcOrd="0" destOrd="0" presId="urn:microsoft.com/office/officeart/2005/8/layout/venn1"/>
    <dgm:cxn modelId="{6486222D-375D-43DE-8783-9ED5C646677C}" srcId="{12615316-1D00-4396-86EE-0A0FA05C5C3F}" destId="{ED345E13-7A4F-4917-812C-172F7EA83B5A}" srcOrd="0" destOrd="0" parTransId="{0615271D-1E75-4E79-B454-DA1730222D15}" sibTransId="{FBA7A194-8135-4B2E-9267-50367F4E9DD9}"/>
    <dgm:cxn modelId="{F9A7F02D-7974-4B98-AF31-D9E59404DA75}" srcId="{12615316-1D00-4396-86EE-0A0FA05C5C3F}" destId="{1C331BB4-25F4-4D1B-A3F5-5598B34A1746}" srcOrd="1" destOrd="0" parTransId="{4E394625-29FF-4B4D-931F-EAE74D28E6B4}" sibTransId="{183F08AC-04BD-4D1B-8718-F4BB5A1D5F99}"/>
    <dgm:cxn modelId="{3A0C2D54-E87B-4E7B-96C2-AD71E6F1D6E2}" type="presOf" srcId="{ED345E13-7A4F-4917-812C-172F7EA83B5A}" destId="{7B8C497B-B161-4C6B-BE18-AAE3F9B1A23B}" srcOrd="0" destOrd="0" presId="urn:microsoft.com/office/officeart/2005/8/layout/venn1"/>
    <dgm:cxn modelId="{5BB50859-7BDA-4352-8AAE-15F7DEFC469F}" type="presOf" srcId="{1C331BB4-25F4-4D1B-A3F5-5598B34A1746}" destId="{7DC63EFB-146E-4B62-BAE1-85B2E074232E}" srcOrd="1" destOrd="0" presId="urn:microsoft.com/office/officeart/2005/8/layout/venn1"/>
    <dgm:cxn modelId="{70688295-EEF7-4F54-AE21-332BB0E677B0}" srcId="{12615316-1D00-4396-86EE-0A0FA05C5C3F}" destId="{B8D73C03-0287-47BE-9266-87B2EF1F6654}" srcOrd="2" destOrd="0" parTransId="{ED065FE1-5AC4-4891-9273-835C666187DE}" sibTransId="{1FA8FBAD-EF0B-4C3F-B2C7-980F76DC5E33}"/>
    <dgm:cxn modelId="{B080239D-6825-4FF7-B7ED-9CD2E941D582}" type="presParOf" srcId="{A0B9FC71-C76B-4974-B766-B9B3140CA02D}" destId="{7B8C497B-B161-4C6B-BE18-AAE3F9B1A23B}" srcOrd="0" destOrd="0" presId="urn:microsoft.com/office/officeart/2005/8/layout/venn1"/>
    <dgm:cxn modelId="{CC319B72-E9DF-4C7A-87AC-4E764380AB64}" type="presParOf" srcId="{A0B9FC71-C76B-4974-B766-B9B3140CA02D}" destId="{1BC7C99B-769C-4C5F-8D6E-36EF90E9C039}" srcOrd="1" destOrd="0" presId="urn:microsoft.com/office/officeart/2005/8/layout/venn1"/>
    <dgm:cxn modelId="{C30FA0F1-AB5C-4FB1-A4D6-7E098F1A2D53}" type="presParOf" srcId="{A0B9FC71-C76B-4974-B766-B9B3140CA02D}" destId="{40617E42-BAF7-41B4-BD87-836058590EEC}" srcOrd="2" destOrd="0" presId="urn:microsoft.com/office/officeart/2005/8/layout/venn1"/>
    <dgm:cxn modelId="{47F37847-A934-4024-9239-7411D9C71690}" type="presParOf" srcId="{A0B9FC71-C76B-4974-B766-B9B3140CA02D}" destId="{7DC63EFB-146E-4B62-BAE1-85B2E074232E}" srcOrd="3" destOrd="0" presId="urn:microsoft.com/office/officeart/2005/8/layout/venn1"/>
    <dgm:cxn modelId="{D174996A-A9DF-4709-BCDF-FDE26A20D294}" type="presParOf" srcId="{A0B9FC71-C76B-4974-B766-B9B3140CA02D}" destId="{4AF0792A-AC3C-4C4F-9A66-CA33D95372A5}" srcOrd="4" destOrd="0" presId="urn:microsoft.com/office/officeart/2005/8/layout/venn1"/>
    <dgm:cxn modelId="{68BD0FD1-70CE-4D57-B304-1DCC804D2F1C}" type="presParOf" srcId="{A0B9FC71-C76B-4974-B766-B9B3140CA02D}" destId="{D25B9A9A-BA8A-4E4C-9F54-68C47324BD43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F62376-E06E-4B01-9E1B-F136C3EB75B9}" type="doc">
      <dgm:prSet loTypeId="urn:microsoft.com/office/officeart/2005/8/layout/cycle8" loCatId="cycle" qsTypeId="urn:microsoft.com/office/officeart/2005/8/quickstyle/3d5" qsCatId="3D" csTypeId="urn:microsoft.com/office/officeart/2005/8/colors/colorful1" csCatId="colorful" phldr="1"/>
      <dgm:spPr/>
    </dgm:pt>
    <dgm:pt modelId="{8756760C-B64E-4D7F-8E79-BBE54EB13825}">
      <dgm:prSet phldrT="[Tekst]"/>
      <dgm:spPr>
        <a:solidFill>
          <a:srgbClr val="996633"/>
        </a:solidFill>
      </dgm:spPr>
      <dgm:t>
        <a:bodyPr/>
        <a:lstStyle/>
        <a:p>
          <a:r>
            <a:rPr lang="en-GB" dirty="0"/>
            <a:t>H</a:t>
          </a:r>
        </a:p>
      </dgm:t>
    </dgm:pt>
    <dgm:pt modelId="{765F68FB-633D-421D-91E0-B9DE94312415}" type="parTrans" cxnId="{6F4BE3EC-29C0-4DD8-B6E2-9D85D09F2236}">
      <dgm:prSet/>
      <dgm:spPr/>
      <dgm:t>
        <a:bodyPr/>
        <a:lstStyle/>
        <a:p>
          <a:endParaRPr lang="en-GB"/>
        </a:p>
      </dgm:t>
    </dgm:pt>
    <dgm:pt modelId="{5B61973F-89C4-45CD-B297-DE575221DD76}" type="sibTrans" cxnId="{6F4BE3EC-29C0-4DD8-B6E2-9D85D09F2236}">
      <dgm:prSet/>
      <dgm:spPr/>
      <dgm:t>
        <a:bodyPr/>
        <a:lstStyle/>
        <a:p>
          <a:endParaRPr lang="en-GB"/>
        </a:p>
      </dgm:t>
    </dgm:pt>
    <dgm:pt modelId="{39572F00-D618-4F66-AA93-DD47E3624CA7}">
      <dgm:prSet phldrT="[Tekst]"/>
      <dgm:spPr>
        <a:solidFill>
          <a:srgbClr val="7030A0"/>
        </a:solidFill>
      </dgm:spPr>
      <dgm:t>
        <a:bodyPr/>
        <a:lstStyle/>
        <a:p>
          <a:r>
            <a:rPr lang="en-GB" dirty="0"/>
            <a:t>E</a:t>
          </a:r>
        </a:p>
      </dgm:t>
    </dgm:pt>
    <dgm:pt modelId="{D24408E4-620A-4447-A129-F4D35907FC10}" type="parTrans" cxnId="{98A7A5E8-43A3-4C04-9425-69209304DA1A}">
      <dgm:prSet/>
      <dgm:spPr/>
      <dgm:t>
        <a:bodyPr/>
        <a:lstStyle/>
        <a:p>
          <a:endParaRPr lang="en-GB"/>
        </a:p>
      </dgm:t>
    </dgm:pt>
    <dgm:pt modelId="{0B3A45EB-A09D-4CD0-A536-AA0445B70F1C}" type="sibTrans" cxnId="{98A7A5E8-43A3-4C04-9425-69209304DA1A}">
      <dgm:prSet/>
      <dgm:spPr/>
      <dgm:t>
        <a:bodyPr/>
        <a:lstStyle/>
        <a:p>
          <a:endParaRPr lang="en-GB"/>
        </a:p>
      </dgm:t>
    </dgm:pt>
    <dgm:pt modelId="{30BDFBE2-E718-4B82-A870-D705B2EE85B5}">
      <dgm:prSet phldrT="[Tekst]"/>
      <dgm:spPr>
        <a:solidFill>
          <a:srgbClr val="FF0000"/>
        </a:solidFill>
      </dgm:spPr>
      <dgm:t>
        <a:bodyPr/>
        <a:lstStyle/>
        <a:p>
          <a:r>
            <a:rPr lang="en-GB" dirty="0"/>
            <a:t>X</a:t>
          </a:r>
        </a:p>
      </dgm:t>
    </dgm:pt>
    <dgm:pt modelId="{1EBA2E28-2A0C-4A12-9E1B-010046FF2AAB}" type="parTrans" cxnId="{784D2354-ED17-423B-9F5B-8711923C25AC}">
      <dgm:prSet/>
      <dgm:spPr/>
      <dgm:t>
        <a:bodyPr/>
        <a:lstStyle/>
        <a:p>
          <a:endParaRPr lang="en-GB"/>
        </a:p>
      </dgm:t>
    </dgm:pt>
    <dgm:pt modelId="{2B2C7E18-D70D-4529-8D61-039F5A5FCE1E}" type="sibTrans" cxnId="{784D2354-ED17-423B-9F5B-8711923C25AC}">
      <dgm:prSet/>
      <dgm:spPr/>
      <dgm:t>
        <a:bodyPr/>
        <a:lstStyle/>
        <a:p>
          <a:endParaRPr lang="en-GB"/>
        </a:p>
      </dgm:t>
    </dgm:pt>
    <dgm:pt modelId="{2A9C8FBE-7730-47AA-9CE7-FB159A457DF9}">
      <dgm:prSet phldrT="[Tekst]"/>
      <dgm:spPr>
        <a:solidFill>
          <a:srgbClr val="FFFF66"/>
        </a:solidFill>
      </dgm:spPr>
      <dgm:t>
        <a:bodyPr/>
        <a:lstStyle/>
        <a:p>
          <a:r>
            <a:rPr lang="en-GB" dirty="0">
              <a:solidFill>
                <a:srgbClr val="7030A0"/>
              </a:solidFill>
            </a:rPr>
            <a:t>O</a:t>
          </a:r>
        </a:p>
      </dgm:t>
    </dgm:pt>
    <dgm:pt modelId="{97988EFD-5B4E-4E98-8594-26C0EA34673A}" type="parTrans" cxnId="{8E3B5705-2248-4EEF-B587-5CBF9D394C97}">
      <dgm:prSet/>
      <dgm:spPr/>
      <dgm:t>
        <a:bodyPr/>
        <a:lstStyle/>
        <a:p>
          <a:endParaRPr lang="en-GB"/>
        </a:p>
      </dgm:t>
    </dgm:pt>
    <dgm:pt modelId="{149AC05C-904E-47B1-955E-EC7869BFAFE6}" type="sibTrans" cxnId="{8E3B5705-2248-4EEF-B587-5CBF9D394C97}">
      <dgm:prSet/>
      <dgm:spPr/>
      <dgm:t>
        <a:bodyPr/>
        <a:lstStyle/>
        <a:p>
          <a:endParaRPr lang="en-GB"/>
        </a:p>
      </dgm:t>
    </dgm:pt>
    <dgm:pt modelId="{0426ADAD-4295-4D3D-8697-A8F11D06F1DB}">
      <dgm:prSet phldrT="[Tekst]"/>
      <dgm:spPr>
        <a:solidFill>
          <a:srgbClr val="00B050"/>
        </a:solidFill>
      </dgm:spPr>
      <dgm:t>
        <a:bodyPr/>
        <a:lstStyle/>
        <a:p>
          <a:r>
            <a:rPr lang="en-GB" dirty="0"/>
            <a:t>A</a:t>
          </a:r>
        </a:p>
      </dgm:t>
    </dgm:pt>
    <dgm:pt modelId="{19D86262-9856-4289-88CB-F36952821126}" type="parTrans" cxnId="{B05FFCAF-ED57-43F3-A050-CE47B1371CDC}">
      <dgm:prSet/>
      <dgm:spPr/>
      <dgm:t>
        <a:bodyPr/>
        <a:lstStyle/>
        <a:p>
          <a:endParaRPr lang="en-GB"/>
        </a:p>
      </dgm:t>
    </dgm:pt>
    <dgm:pt modelId="{32CFE051-E71D-4634-8BC8-FF8F6623F888}" type="sibTrans" cxnId="{B05FFCAF-ED57-43F3-A050-CE47B1371CDC}">
      <dgm:prSet/>
      <dgm:spPr/>
      <dgm:t>
        <a:bodyPr/>
        <a:lstStyle/>
        <a:p>
          <a:endParaRPr lang="en-GB"/>
        </a:p>
      </dgm:t>
    </dgm:pt>
    <dgm:pt modelId="{DA71623F-F6D2-41D4-9733-5428E425FEDB}">
      <dgm:prSet phldrT="[Tekst]"/>
      <dgm:spPr/>
      <dgm:t>
        <a:bodyPr/>
        <a:lstStyle/>
        <a:p>
          <a:r>
            <a:rPr lang="en-GB" dirty="0"/>
            <a:t>C</a:t>
          </a:r>
        </a:p>
      </dgm:t>
    </dgm:pt>
    <dgm:pt modelId="{4CED6988-0A44-4D5F-BF45-4D95B3A2E190}" type="parTrans" cxnId="{8CD83352-F075-4CB7-B710-2DF2A83F10EF}">
      <dgm:prSet/>
      <dgm:spPr/>
      <dgm:t>
        <a:bodyPr/>
        <a:lstStyle/>
        <a:p>
          <a:endParaRPr lang="en-GB"/>
        </a:p>
      </dgm:t>
    </dgm:pt>
    <dgm:pt modelId="{CA7957DD-FF8A-4E1C-A80A-4C6D6CA4FDDA}" type="sibTrans" cxnId="{8CD83352-F075-4CB7-B710-2DF2A83F10EF}">
      <dgm:prSet/>
      <dgm:spPr/>
      <dgm:t>
        <a:bodyPr/>
        <a:lstStyle/>
        <a:p>
          <a:endParaRPr lang="en-GB"/>
        </a:p>
      </dgm:t>
    </dgm:pt>
    <dgm:pt modelId="{D18FA1D1-5A3B-45BC-8ABA-16954DA236AA}" type="pres">
      <dgm:prSet presAssocID="{E8F62376-E06E-4B01-9E1B-F136C3EB75B9}" presName="compositeShape" presStyleCnt="0">
        <dgm:presLayoutVars>
          <dgm:chMax val="7"/>
          <dgm:dir/>
          <dgm:resizeHandles val="exact"/>
        </dgm:presLayoutVars>
      </dgm:prSet>
      <dgm:spPr/>
    </dgm:pt>
    <dgm:pt modelId="{89308162-9F3D-4CB2-9856-A331CB0D8F37}" type="pres">
      <dgm:prSet presAssocID="{E8F62376-E06E-4B01-9E1B-F136C3EB75B9}" presName="wedge1" presStyleLbl="node1" presStyleIdx="0" presStyleCnt="6"/>
      <dgm:spPr/>
    </dgm:pt>
    <dgm:pt modelId="{9BDBEECB-8D9D-45E5-925B-FA7006315454}" type="pres">
      <dgm:prSet presAssocID="{E8F62376-E06E-4B01-9E1B-F136C3EB75B9}" presName="dummy1a" presStyleCnt="0"/>
      <dgm:spPr/>
    </dgm:pt>
    <dgm:pt modelId="{B78152A7-B406-4AD1-95CC-798E9452A4E0}" type="pres">
      <dgm:prSet presAssocID="{E8F62376-E06E-4B01-9E1B-F136C3EB75B9}" presName="dummy1b" presStyleCnt="0"/>
      <dgm:spPr/>
    </dgm:pt>
    <dgm:pt modelId="{B23FC279-B1B2-4E8E-AC75-90A1B20A7A13}" type="pres">
      <dgm:prSet presAssocID="{E8F62376-E06E-4B01-9E1B-F136C3EB75B9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03C0AFE9-A394-4168-8E05-3DD83BFD5B03}" type="pres">
      <dgm:prSet presAssocID="{E8F62376-E06E-4B01-9E1B-F136C3EB75B9}" presName="wedge2" presStyleLbl="node1" presStyleIdx="1" presStyleCnt="6"/>
      <dgm:spPr/>
    </dgm:pt>
    <dgm:pt modelId="{109A9099-E4F7-44CD-B8A2-986587565527}" type="pres">
      <dgm:prSet presAssocID="{E8F62376-E06E-4B01-9E1B-F136C3EB75B9}" presName="dummy2a" presStyleCnt="0"/>
      <dgm:spPr/>
    </dgm:pt>
    <dgm:pt modelId="{AAD0152B-3963-4B56-B1AF-848CE52A6969}" type="pres">
      <dgm:prSet presAssocID="{E8F62376-E06E-4B01-9E1B-F136C3EB75B9}" presName="dummy2b" presStyleCnt="0"/>
      <dgm:spPr/>
    </dgm:pt>
    <dgm:pt modelId="{58DF76B6-CAE5-4A85-8FD9-84B42A158238}" type="pres">
      <dgm:prSet presAssocID="{E8F62376-E06E-4B01-9E1B-F136C3EB75B9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EA3DA3D3-3F47-4A2B-8F94-394CC3E9D2F1}" type="pres">
      <dgm:prSet presAssocID="{E8F62376-E06E-4B01-9E1B-F136C3EB75B9}" presName="wedge3" presStyleLbl="node1" presStyleIdx="2" presStyleCnt="6"/>
      <dgm:spPr/>
    </dgm:pt>
    <dgm:pt modelId="{561513D5-CFA8-4CB3-A177-EF29A311FA28}" type="pres">
      <dgm:prSet presAssocID="{E8F62376-E06E-4B01-9E1B-F136C3EB75B9}" presName="dummy3a" presStyleCnt="0"/>
      <dgm:spPr/>
    </dgm:pt>
    <dgm:pt modelId="{A1B748E1-32AD-4D1F-99FB-62803360C2E5}" type="pres">
      <dgm:prSet presAssocID="{E8F62376-E06E-4B01-9E1B-F136C3EB75B9}" presName="dummy3b" presStyleCnt="0"/>
      <dgm:spPr/>
    </dgm:pt>
    <dgm:pt modelId="{28A3D772-F8DA-4739-9DEA-94632663481E}" type="pres">
      <dgm:prSet presAssocID="{E8F62376-E06E-4B01-9E1B-F136C3EB75B9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E57D8FFF-D938-4F1F-832E-98B98B56931F}" type="pres">
      <dgm:prSet presAssocID="{E8F62376-E06E-4B01-9E1B-F136C3EB75B9}" presName="wedge4" presStyleLbl="node1" presStyleIdx="3" presStyleCnt="6"/>
      <dgm:spPr/>
    </dgm:pt>
    <dgm:pt modelId="{2C569FDC-A57E-4F8B-87DC-6D31932310A5}" type="pres">
      <dgm:prSet presAssocID="{E8F62376-E06E-4B01-9E1B-F136C3EB75B9}" presName="dummy4a" presStyleCnt="0"/>
      <dgm:spPr/>
    </dgm:pt>
    <dgm:pt modelId="{CC4E3A97-C249-49B5-86A1-EC91CAB76DAC}" type="pres">
      <dgm:prSet presAssocID="{E8F62376-E06E-4B01-9E1B-F136C3EB75B9}" presName="dummy4b" presStyleCnt="0"/>
      <dgm:spPr/>
    </dgm:pt>
    <dgm:pt modelId="{1BF6FB1A-380D-4D87-831A-C0DDCDE351AB}" type="pres">
      <dgm:prSet presAssocID="{E8F62376-E06E-4B01-9E1B-F136C3EB75B9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0409D0AC-2319-4E98-AC40-EE54B4A53C05}" type="pres">
      <dgm:prSet presAssocID="{E8F62376-E06E-4B01-9E1B-F136C3EB75B9}" presName="wedge5" presStyleLbl="node1" presStyleIdx="4" presStyleCnt="6"/>
      <dgm:spPr/>
    </dgm:pt>
    <dgm:pt modelId="{D2612E05-9080-44F2-A826-DDA84F3E9616}" type="pres">
      <dgm:prSet presAssocID="{E8F62376-E06E-4B01-9E1B-F136C3EB75B9}" presName="dummy5a" presStyleCnt="0"/>
      <dgm:spPr/>
    </dgm:pt>
    <dgm:pt modelId="{27330C3B-8763-4077-8108-E41A18D93976}" type="pres">
      <dgm:prSet presAssocID="{E8F62376-E06E-4B01-9E1B-F136C3EB75B9}" presName="dummy5b" presStyleCnt="0"/>
      <dgm:spPr/>
    </dgm:pt>
    <dgm:pt modelId="{CFCD1C84-870C-4A5F-AC24-EC70280ECC69}" type="pres">
      <dgm:prSet presAssocID="{E8F62376-E06E-4B01-9E1B-F136C3EB75B9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1B88E2D0-3433-4E45-8B58-A3716DEB97F2}" type="pres">
      <dgm:prSet presAssocID="{E8F62376-E06E-4B01-9E1B-F136C3EB75B9}" presName="wedge6" presStyleLbl="node1" presStyleIdx="5" presStyleCnt="6"/>
      <dgm:spPr/>
    </dgm:pt>
    <dgm:pt modelId="{0B80D5F8-6634-4209-BEC3-DBA23A51E55B}" type="pres">
      <dgm:prSet presAssocID="{E8F62376-E06E-4B01-9E1B-F136C3EB75B9}" presName="dummy6a" presStyleCnt="0"/>
      <dgm:spPr/>
    </dgm:pt>
    <dgm:pt modelId="{1AC2A5F4-36BE-4A84-802F-633188BB80D2}" type="pres">
      <dgm:prSet presAssocID="{E8F62376-E06E-4B01-9E1B-F136C3EB75B9}" presName="dummy6b" presStyleCnt="0"/>
      <dgm:spPr/>
    </dgm:pt>
    <dgm:pt modelId="{9C5F620E-DD24-4ACC-ABCF-36C763416997}" type="pres">
      <dgm:prSet presAssocID="{E8F62376-E06E-4B01-9E1B-F136C3EB75B9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</dgm:pt>
    <dgm:pt modelId="{44C748E8-930B-406E-BEB8-F5642D40C8B4}" type="pres">
      <dgm:prSet presAssocID="{5B61973F-89C4-45CD-B297-DE575221DD76}" presName="arrowWedge1" presStyleLbl="fgSibTrans2D1" presStyleIdx="0" presStyleCnt="6"/>
      <dgm:spPr>
        <a:solidFill>
          <a:schemeClr val="bg2">
            <a:lumMod val="65000"/>
          </a:schemeClr>
        </a:solidFill>
      </dgm:spPr>
    </dgm:pt>
    <dgm:pt modelId="{59270762-92A2-48F1-949E-01F479164367}" type="pres">
      <dgm:prSet presAssocID="{0B3A45EB-A09D-4CD0-A536-AA0445B70F1C}" presName="arrowWedge2" presStyleLbl="fgSibTrans2D1" presStyleIdx="1" presStyleCnt="6"/>
      <dgm:spPr>
        <a:solidFill>
          <a:schemeClr val="bg2">
            <a:lumMod val="65000"/>
          </a:schemeClr>
        </a:solidFill>
      </dgm:spPr>
    </dgm:pt>
    <dgm:pt modelId="{D9942A06-5F33-4336-BD49-066C9A4FEFE8}" type="pres">
      <dgm:prSet presAssocID="{2B2C7E18-D70D-4529-8D61-039F5A5FCE1E}" presName="arrowWedge3" presStyleLbl="fgSibTrans2D1" presStyleIdx="2" presStyleCnt="6"/>
      <dgm:spPr>
        <a:solidFill>
          <a:schemeClr val="bg2">
            <a:lumMod val="65000"/>
          </a:schemeClr>
        </a:solidFill>
      </dgm:spPr>
    </dgm:pt>
    <dgm:pt modelId="{A05F1BF3-E0DC-4F33-A330-0C7EB75D80B6}" type="pres">
      <dgm:prSet presAssocID="{32CFE051-E71D-4634-8BC8-FF8F6623F888}" presName="arrowWedge4" presStyleLbl="fgSibTrans2D1" presStyleIdx="3" presStyleCnt="6"/>
      <dgm:spPr>
        <a:solidFill>
          <a:schemeClr val="bg2">
            <a:lumMod val="65000"/>
          </a:schemeClr>
        </a:solidFill>
      </dgm:spPr>
    </dgm:pt>
    <dgm:pt modelId="{F318A0DF-332D-4EBE-813B-EA0422D20715}" type="pres">
      <dgm:prSet presAssocID="{CA7957DD-FF8A-4E1C-A80A-4C6D6CA4FDDA}" presName="arrowWedge5" presStyleLbl="fgSibTrans2D1" presStyleIdx="4" presStyleCnt="6"/>
      <dgm:spPr>
        <a:solidFill>
          <a:schemeClr val="bg2">
            <a:lumMod val="65000"/>
          </a:schemeClr>
        </a:solidFill>
      </dgm:spPr>
    </dgm:pt>
    <dgm:pt modelId="{B6BB7408-8B1F-48AB-ACB9-EC8FD88923F7}" type="pres">
      <dgm:prSet presAssocID="{149AC05C-904E-47B1-955E-EC7869BFAFE6}" presName="arrowWedge6" presStyleLbl="fgSibTrans2D1" presStyleIdx="5" presStyleCnt="6"/>
      <dgm:spPr>
        <a:solidFill>
          <a:schemeClr val="bg2">
            <a:lumMod val="65000"/>
          </a:schemeClr>
        </a:solidFill>
      </dgm:spPr>
    </dgm:pt>
  </dgm:ptLst>
  <dgm:cxnLst>
    <dgm:cxn modelId="{8E3B5705-2248-4EEF-B587-5CBF9D394C97}" srcId="{E8F62376-E06E-4B01-9E1B-F136C3EB75B9}" destId="{2A9C8FBE-7730-47AA-9CE7-FB159A457DF9}" srcOrd="5" destOrd="0" parTransId="{97988EFD-5B4E-4E98-8594-26C0EA34673A}" sibTransId="{149AC05C-904E-47B1-955E-EC7869BFAFE6}"/>
    <dgm:cxn modelId="{09EDD80A-C6A0-42F7-B18E-CADB2F8C4FFF}" type="presOf" srcId="{8756760C-B64E-4D7F-8E79-BBE54EB13825}" destId="{B23FC279-B1B2-4E8E-AC75-90A1B20A7A13}" srcOrd="1" destOrd="0" presId="urn:microsoft.com/office/officeart/2005/8/layout/cycle8"/>
    <dgm:cxn modelId="{B3468C0D-6BE3-4986-93CE-DAF701A664E6}" type="presOf" srcId="{30BDFBE2-E718-4B82-A870-D705B2EE85B5}" destId="{EA3DA3D3-3F47-4A2B-8F94-394CC3E9D2F1}" srcOrd="0" destOrd="0" presId="urn:microsoft.com/office/officeart/2005/8/layout/cycle8"/>
    <dgm:cxn modelId="{8787AC2B-C2B9-4F8E-99E5-453EAD7F3460}" type="presOf" srcId="{2A9C8FBE-7730-47AA-9CE7-FB159A457DF9}" destId="{1B88E2D0-3433-4E45-8B58-A3716DEB97F2}" srcOrd="0" destOrd="0" presId="urn:microsoft.com/office/officeart/2005/8/layout/cycle8"/>
    <dgm:cxn modelId="{FF870462-9A4D-44AD-8AA7-31CBD830511B}" type="presOf" srcId="{39572F00-D618-4F66-AA93-DD47E3624CA7}" destId="{03C0AFE9-A394-4168-8E05-3DD83BFD5B03}" srcOrd="0" destOrd="0" presId="urn:microsoft.com/office/officeart/2005/8/layout/cycle8"/>
    <dgm:cxn modelId="{8CD83352-F075-4CB7-B710-2DF2A83F10EF}" srcId="{E8F62376-E06E-4B01-9E1B-F136C3EB75B9}" destId="{DA71623F-F6D2-41D4-9733-5428E425FEDB}" srcOrd="4" destOrd="0" parTransId="{4CED6988-0A44-4D5F-BF45-4D95B3A2E190}" sibTransId="{CA7957DD-FF8A-4E1C-A80A-4C6D6CA4FDDA}"/>
    <dgm:cxn modelId="{784D2354-ED17-423B-9F5B-8711923C25AC}" srcId="{E8F62376-E06E-4B01-9E1B-F136C3EB75B9}" destId="{30BDFBE2-E718-4B82-A870-D705B2EE85B5}" srcOrd="2" destOrd="0" parTransId="{1EBA2E28-2A0C-4A12-9E1B-010046FF2AAB}" sibTransId="{2B2C7E18-D70D-4529-8D61-039F5A5FCE1E}"/>
    <dgm:cxn modelId="{A9E91E87-0530-492D-B200-21FD43A3DD0C}" type="presOf" srcId="{DA71623F-F6D2-41D4-9733-5428E425FEDB}" destId="{0409D0AC-2319-4E98-AC40-EE54B4A53C05}" srcOrd="0" destOrd="0" presId="urn:microsoft.com/office/officeart/2005/8/layout/cycle8"/>
    <dgm:cxn modelId="{C612D391-6F65-4FA8-8B00-61DAADE7D032}" type="presOf" srcId="{DA71623F-F6D2-41D4-9733-5428E425FEDB}" destId="{CFCD1C84-870C-4A5F-AC24-EC70280ECC69}" srcOrd="1" destOrd="0" presId="urn:microsoft.com/office/officeart/2005/8/layout/cycle8"/>
    <dgm:cxn modelId="{7FCC70A8-D3F4-4354-88F0-69E2576EC0CA}" type="presOf" srcId="{0426ADAD-4295-4D3D-8697-A8F11D06F1DB}" destId="{E57D8FFF-D938-4F1F-832E-98B98B56931F}" srcOrd="0" destOrd="0" presId="urn:microsoft.com/office/officeart/2005/8/layout/cycle8"/>
    <dgm:cxn modelId="{B05FFCAF-ED57-43F3-A050-CE47B1371CDC}" srcId="{E8F62376-E06E-4B01-9E1B-F136C3EB75B9}" destId="{0426ADAD-4295-4D3D-8697-A8F11D06F1DB}" srcOrd="3" destOrd="0" parTransId="{19D86262-9856-4289-88CB-F36952821126}" sibTransId="{32CFE051-E71D-4634-8BC8-FF8F6623F888}"/>
    <dgm:cxn modelId="{C0DD4BB5-787F-4898-89E3-0071532D3B2D}" type="presOf" srcId="{0426ADAD-4295-4D3D-8697-A8F11D06F1DB}" destId="{1BF6FB1A-380D-4D87-831A-C0DDCDE351AB}" srcOrd="1" destOrd="0" presId="urn:microsoft.com/office/officeart/2005/8/layout/cycle8"/>
    <dgm:cxn modelId="{D49021BC-BC6D-4DA3-A2B6-B50CB14BDDFF}" type="presOf" srcId="{39572F00-D618-4F66-AA93-DD47E3624CA7}" destId="{58DF76B6-CAE5-4A85-8FD9-84B42A158238}" srcOrd="1" destOrd="0" presId="urn:microsoft.com/office/officeart/2005/8/layout/cycle8"/>
    <dgm:cxn modelId="{CE8439BC-71DC-4956-A378-E6F275A5A050}" type="presOf" srcId="{2A9C8FBE-7730-47AA-9CE7-FB159A457DF9}" destId="{9C5F620E-DD24-4ACC-ABCF-36C763416997}" srcOrd="1" destOrd="0" presId="urn:microsoft.com/office/officeart/2005/8/layout/cycle8"/>
    <dgm:cxn modelId="{9A6D7CCC-F212-49B5-8772-C693D4944BDF}" type="presOf" srcId="{30BDFBE2-E718-4B82-A870-D705B2EE85B5}" destId="{28A3D772-F8DA-4739-9DEA-94632663481E}" srcOrd="1" destOrd="0" presId="urn:microsoft.com/office/officeart/2005/8/layout/cycle8"/>
    <dgm:cxn modelId="{31EEF0DF-AEBE-42D6-AD64-3A031E7C30F9}" type="presOf" srcId="{8756760C-B64E-4D7F-8E79-BBE54EB13825}" destId="{89308162-9F3D-4CB2-9856-A331CB0D8F37}" srcOrd="0" destOrd="0" presId="urn:microsoft.com/office/officeart/2005/8/layout/cycle8"/>
    <dgm:cxn modelId="{121202E4-15B7-4832-BBBE-8985FA5B305A}" type="presOf" srcId="{E8F62376-E06E-4B01-9E1B-F136C3EB75B9}" destId="{D18FA1D1-5A3B-45BC-8ABA-16954DA236AA}" srcOrd="0" destOrd="0" presId="urn:microsoft.com/office/officeart/2005/8/layout/cycle8"/>
    <dgm:cxn modelId="{98A7A5E8-43A3-4C04-9425-69209304DA1A}" srcId="{E8F62376-E06E-4B01-9E1B-F136C3EB75B9}" destId="{39572F00-D618-4F66-AA93-DD47E3624CA7}" srcOrd="1" destOrd="0" parTransId="{D24408E4-620A-4447-A129-F4D35907FC10}" sibTransId="{0B3A45EB-A09D-4CD0-A536-AA0445B70F1C}"/>
    <dgm:cxn modelId="{6F4BE3EC-29C0-4DD8-B6E2-9D85D09F2236}" srcId="{E8F62376-E06E-4B01-9E1B-F136C3EB75B9}" destId="{8756760C-B64E-4D7F-8E79-BBE54EB13825}" srcOrd="0" destOrd="0" parTransId="{765F68FB-633D-421D-91E0-B9DE94312415}" sibTransId="{5B61973F-89C4-45CD-B297-DE575221DD76}"/>
    <dgm:cxn modelId="{8D66BCC9-4248-4116-BE10-070FB646B7D9}" type="presParOf" srcId="{D18FA1D1-5A3B-45BC-8ABA-16954DA236AA}" destId="{89308162-9F3D-4CB2-9856-A331CB0D8F37}" srcOrd="0" destOrd="0" presId="urn:microsoft.com/office/officeart/2005/8/layout/cycle8"/>
    <dgm:cxn modelId="{AEE9B591-889A-4ADB-A9BC-06F5A4FEC218}" type="presParOf" srcId="{D18FA1D1-5A3B-45BC-8ABA-16954DA236AA}" destId="{9BDBEECB-8D9D-45E5-925B-FA7006315454}" srcOrd="1" destOrd="0" presId="urn:microsoft.com/office/officeart/2005/8/layout/cycle8"/>
    <dgm:cxn modelId="{33599F00-E028-401E-BB65-903D04C3671A}" type="presParOf" srcId="{D18FA1D1-5A3B-45BC-8ABA-16954DA236AA}" destId="{B78152A7-B406-4AD1-95CC-798E9452A4E0}" srcOrd="2" destOrd="0" presId="urn:microsoft.com/office/officeart/2005/8/layout/cycle8"/>
    <dgm:cxn modelId="{E0715042-7E76-4269-BAC4-224B9094F7FF}" type="presParOf" srcId="{D18FA1D1-5A3B-45BC-8ABA-16954DA236AA}" destId="{B23FC279-B1B2-4E8E-AC75-90A1B20A7A13}" srcOrd="3" destOrd="0" presId="urn:microsoft.com/office/officeart/2005/8/layout/cycle8"/>
    <dgm:cxn modelId="{6CAF9FB9-BF46-4E3B-A0CD-A3F805F28DFC}" type="presParOf" srcId="{D18FA1D1-5A3B-45BC-8ABA-16954DA236AA}" destId="{03C0AFE9-A394-4168-8E05-3DD83BFD5B03}" srcOrd="4" destOrd="0" presId="urn:microsoft.com/office/officeart/2005/8/layout/cycle8"/>
    <dgm:cxn modelId="{80AC1B73-BA14-493E-AD3D-85B270238AF8}" type="presParOf" srcId="{D18FA1D1-5A3B-45BC-8ABA-16954DA236AA}" destId="{109A9099-E4F7-44CD-B8A2-986587565527}" srcOrd="5" destOrd="0" presId="urn:microsoft.com/office/officeart/2005/8/layout/cycle8"/>
    <dgm:cxn modelId="{BD958A42-BEA6-486C-86F7-2329AF5D9A0A}" type="presParOf" srcId="{D18FA1D1-5A3B-45BC-8ABA-16954DA236AA}" destId="{AAD0152B-3963-4B56-B1AF-848CE52A6969}" srcOrd="6" destOrd="0" presId="urn:microsoft.com/office/officeart/2005/8/layout/cycle8"/>
    <dgm:cxn modelId="{B0DBAAA7-8849-4CAA-AEC1-0E5278C499C3}" type="presParOf" srcId="{D18FA1D1-5A3B-45BC-8ABA-16954DA236AA}" destId="{58DF76B6-CAE5-4A85-8FD9-84B42A158238}" srcOrd="7" destOrd="0" presId="urn:microsoft.com/office/officeart/2005/8/layout/cycle8"/>
    <dgm:cxn modelId="{F73A9497-C203-44A4-9E87-D694F71C6590}" type="presParOf" srcId="{D18FA1D1-5A3B-45BC-8ABA-16954DA236AA}" destId="{EA3DA3D3-3F47-4A2B-8F94-394CC3E9D2F1}" srcOrd="8" destOrd="0" presId="urn:microsoft.com/office/officeart/2005/8/layout/cycle8"/>
    <dgm:cxn modelId="{4BC8458F-BCD2-445F-AB15-DEF32C3C16B6}" type="presParOf" srcId="{D18FA1D1-5A3B-45BC-8ABA-16954DA236AA}" destId="{561513D5-CFA8-4CB3-A177-EF29A311FA28}" srcOrd="9" destOrd="0" presId="urn:microsoft.com/office/officeart/2005/8/layout/cycle8"/>
    <dgm:cxn modelId="{CB78735D-C9D8-4365-8ADE-2BFEAB48D890}" type="presParOf" srcId="{D18FA1D1-5A3B-45BC-8ABA-16954DA236AA}" destId="{A1B748E1-32AD-4D1F-99FB-62803360C2E5}" srcOrd="10" destOrd="0" presId="urn:microsoft.com/office/officeart/2005/8/layout/cycle8"/>
    <dgm:cxn modelId="{D558A5DC-EB3D-4764-822B-37358CEE9BFF}" type="presParOf" srcId="{D18FA1D1-5A3B-45BC-8ABA-16954DA236AA}" destId="{28A3D772-F8DA-4739-9DEA-94632663481E}" srcOrd="11" destOrd="0" presId="urn:microsoft.com/office/officeart/2005/8/layout/cycle8"/>
    <dgm:cxn modelId="{B9F1C40B-2967-4CD6-8289-19E4A12879FE}" type="presParOf" srcId="{D18FA1D1-5A3B-45BC-8ABA-16954DA236AA}" destId="{E57D8FFF-D938-4F1F-832E-98B98B56931F}" srcOrd="12" destOrd="0" presId="urn:microsoft.com/office/officeart/2005/8/layout/cycle8"/>
    <dgm:cxn modelId="{90B45101-EF15-4FC5-ACA8-95D32911C1E8}" type="presParOf" srcId="{D18FA1D1-5A3B-45BC-8ABA-16954DA236AA}" destId="{2C569FDC-A57E-4F8B-87DC-6D31932310A5}" srcOrd="13" destOrd="0" presId="urn:microsoft.com/office/officeart/2005/8/layout/cycle8"/>
    <dgm:cxn modelId="{FEAA2D3D-D280-46BC-A1D7-1D990CE5D180}" type="presParOf" srcId="{D18FA1D1-5A3B-45BC-8ABA-16954DA236AA}" destId="{CC4E3A97-C249-49B5-86A1-EC91CAB76DAC}" srcOrd="14" destOrd="0" presId="urn:microsoft.com/office/officeart/2005/8/layout/cycle8"/>
    <dgm:cxn modelId="{C9222FE8-4730-47A1-A163-449F0C33B345}" type="presParOf" srcId="{D18FA1D1-5A3B-45BC-8ABA-16954DA236AA}" destId="{1BF6FB1A-380D-4D87-831A-C0DDCDE351AB}" srcOrd="15" destOrd="0" presId="urn:microsoft.com/office/officeart/2005/8/layout/cycle8"/>
    <dgm:cxn modelId="{E0B04CFE-289D-4D48-B8C8-FA4A133154E1}" type="presParOf" srcId="{D18FA1D1-5A3B-45BC-8ABA-16954DA236AA}" destId="{0409D0AC-2319-4E98-AC40-EE54B4A53C05}" srcOrd="16" destOrd="0" presId="urn:microsoft.com/office/officeart/2005/8/layout/cycle8"/>
    <dgm:cxn modelId="{9677592D-2D30-40EC-8E63-5392CDC3D7D3}" type="presParOf" srcId="{D18FA1D1-5A3B-45BC-8ABA-16954DA236AA}" destId="{D2612E05-9080-44F2-A826-DDA84F3E9616}" srcOrd="17" destOrd="0" presId="urn:microsoft.com/office/officeart/2005/8/layout/cycle8"/>
    <dgm:cxn modelId="{93AE8B02-DC94-47D6-8F88-D7886AFFB40B}" type="presParOf" srcId="{D18FA1D1-5A3B-45BC-8ABA-16954DA236AA}" destId="{27330C3B-8763-4077-8108-E41A18D93976}" srcOrd="18" destOrd="0" presId="urn:microsoft.com/office/officeart/2005/8/layout/cycle8"/>
    <dgm:cxn modelId="{DAC8446F-2C92-45B9-B7F8-4C2F55C0C595}" type="presParOf" srcId="{D18FA1D1-5A3B-45BC-8ABA-16954DA236AA}" destId="{CFCD1C84-870C-4A5F-AC24-EC70280ECC69}" srcOrd="19" destOrd="0" presId="urn:microsoft.com/office/officeart/2005/8/layout/cycle8"/>
    <dgm:cxn modelId="{F22A820F-7EA8-4EF1-806C-D401E433D3CF}" type="presParOf" srcId="{D18FA1D1-5A3B-45BC-8ABA-16954DA236AA}" destId="{1B88E2D0-3433-4E45-8B58-A3716DEB97F2}" srcOrd="20" destOrd="0" presId="urn:microsoft.com/office/officeart/2005/8/layout/cycle8"/>
    <dgm:cxn modelId="{5260C407-4209-4D48-ABCF-547C37BF88DA}" type="presParOf" srcId="{D18FA1D1-5A3B-45BC-8ABA-16954DA236AA}" destId="{0B80D5F8-6634-4209-BEC3-DBA23A51E55B}" srcOrd="21" destOrd="0" presId="urn:microsoft.com/office/officeart/2005/8/layout/cycle8"/>
    <dgm:cxn modelId="{152B1983-3D38-4660-A7A0-AEE6490E480F}" type="presParOf" srcId="{D18FA1D1-5A3B-45BC-8ABA-16954DA236AA}" destId="{1AC2A5F4-36BE-4A84-802F-633188BB80D2}" srcOrd="22" destOrd="0" presId="urn:microsoft.com/office/officeart/2005/8/layout/cycle8"/>
    <dgm:cxn modelId="{8EFCD147-4B6D-49BA-A1A7-27AF4EB7B484}" type="presParOf" srcId="{D18FA1D1-5A3B-45BC-8ABA-16954DA236AA}" destId="{9C5F620E-DD24-4ACC-ABCF-36C763416997}" srcOrd="23" destOrd="0" presId="urn:microsoft.com/office/officeart/2005/8/layout/cycle8"/>
    <dgm:cxn modelId="{2F72057B-5889-4C72-AC76-0462154862E9}" type="presParOf" srcId="{D18FA1D1-5A3B-45BC-8ABA-16954DA236AA}" destId="{44C748E8-930B-406E-BEB8-F5642D40C8B4}" srcOrd="24" destOrd="0" presId="urn:microsoft.com/office/officeart/2005/8/layout/cycle8"/>
    <dgm:cxn modelId="{8C3E43A9-3636-4943-B9DD-010794DFA8E9}" type="presParOf" srcId="{D18FA1D1-5A3B-45BC-8ABA-16954DA236AA}" destId="{59270762-92A2-48F1-949E-01F479164367}" srcOrd="25" destOrd="0" presId="urn:microsoft.com/office/officeart/2005/8/layout/cycle8"/>
    <dgm:cxn modelId="{EA022361-4914-4293-A438-D654C87252CB}" type="presParOf" srcId="{D18FA1D1-5A3B-45BC-8ABA-16954DA236AA}" destId="{D9942A06-5F33-4336-BD49-066C9A4FEFE8}" srcOrd="26" destOrd="0" presId="urn:microsoft.com/office/officeart/2005/8/layout/cycle8"/>
    <dgm:cxn modelId="{C7D8AD38-26FD-4D34-A75D-6BE83B6134B5}" type="presParOf" srcId="{D18FA1D1-5A3B-45BC-8ABA-16954DA236AA}" destId="{A05F1BF3-E0DC-4F33-A330-0C7EB75D80B6}" srcOrd="27" destOrd="0" presId="urn:microsoft.com/office/officeart/2005/8/layout/cycle8"/>
    <dgm:cxn modelId="{DAD505E0-D618-450A-8596-B261E8DF0CFB}" type="presParOf" srcId="{D18FA1D1-5A3B-45BC-8ABA-16954DA236AA}" destId="{F318A0DF-332D-4EBE-813B-EA0422D20715}" srcOrd="28" destOrd="0" presId="urn:microsoft.com/office/officeart/2005/8/layout/cycle8"/>
    <dgm:cxn modelId="{7AA759E3-C08E-4082-BB67-B04EA9ED7286}" type="presParOf" srcId="{D18FA1D1-5A3B-45BC-8ABA-16954DA236AA}" destId="{B6BB7408-8B1F-48AB-ACB9-EC8FD88923F7}" srcOrd="2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6A3953-55E5-414F-8C95-D03EB8EBC249}">
      <dsp:nvSpPr>
        <dsp:cNvPr id="0" name=""/>
        <dsp:cNvSpPr/>
      </dsp:nvSpPr>
      <dsp:spPr>
        <a:xfrm>
          <a:off x="387203" y="395"/>
          <a:ext cx="888471" cy="888471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100" kern="1200" dirty="0"/>
            <a:t>Expertise</a:t>
          </a:r>
        </a:p>
      </dsp:txBody>
      <dsp:txXfrm>
        <a:off x="517317" y="130509"/>
        <a:ext cx="628243" cy="628243"/>
      </dsp:txXfrm>
    </dsp:sp>
    <dsp:sp modelId="{C6D309F4-477A-4CAC-A909-17DAE1DB0AC3}">
      <dsp:nvSpPr>
        <dsp:cNvPr id="0" name=""/>
        <dsp:cNvSpPr/>
      </dsp:nvSpPr>
      <dsp:spPr>
        <a:xfrm>
          <a:off x="573782" y="961011"/>
          <a:ext cx="515313" cy="515313"/>
        </a:xfrm>
        <a:prstGeom prst="mathPlus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800" kern="1200"/>
        </a:p>
      </dsp:txBody>
      <dsp:txXfrm>
        <a:off x="642087" y="1158067"/>
        <a:ext cx="378703" cy="121201"/>
      </dsp:txXfrm>
    </dsp:sp>
    <dsp:sp modelId="{BD1FB971-F6A0-4EE6-A333-65C32063F180}">
      <dsp:nvSpPr>
        <dsp:cNvPr id="0" name=""/>
        <dsp:cNvSpPr/>
      </dsp:nvSpPr>
      <dsp:spPr>
        <a:xfrm>
          <a:off x="387203" y="1548468"/>
          <a:ext cx="888471" cy="888471"/>
        </a:xfrm>
        <a:prstGeom prst="ellipse">
          <a:avLst/>
        </a:prstGeom>
        <a:solidFill>
          <a:schemeClr val="accent3">
            <a:hueOff val="-1283756"/>
            <a:satOff val="24240"/>
            <a:lumOff val="-1471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100" kern="1200" dirty="0" err="1"/>
            <a:t>Behaviour</a:t>
          </a:r>
          <a:endParaRPr lang="nl-NL" sz="1100" kern="1200" dirty="0"/>
        </a:p>
      </dsp:txBody>
      <dsp:txXfrm>
        <a:off x="517317" y="1678582"/>
        <a:ext cx="628243" cy="628243"/>
      </dsp:txXfrm>
    </dsp:sp>
    <dsp:sp modelId="{CA6F45F0-35CF-4106-A7EC-38B6D9D3197A}">
      <dsp:nvSpPr>
        <dsp:cNvPr id="0" name=""/>
        <dsp:cNvSpPr/>
      </dsp:nvSpPr>
      <dsp:spPr>
        <a:xfrm>
          <a:off x="1408945" y="1053412"/>
          <a:ext cx="282534" cy="330511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-2567512"/>
            <a:satOff val="48481"/>
            <a:lumOff val="-2941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900" kern="1200"/>
        </a:p>
      </dsp:txBody>
      <dsp:txXfrm>
        <a:off x="1408945" y="1119514"/>
        <a:ext cx="197774" cy="198307"/>
      </dsp:txXfrm>
    </dsp:sp>
    <dsp:sp modelId="{656256C3-BB75-4EEC-8287-502E9D9B233D}">
      <dsp:nvSpPr>
        <dsp:cNvPr id="0" name=""/>
        <dsp:cNvSpPr/>
      </dsp:nvSpPr>
      <dsp:spPr>
        <a:xfrm>
          <a:off x="1808758" y="330196"/>
          <a:ext cx="1776943" cy="1776943"/>
        </a:xfrm>
        <a:prstGeom prst="ellipse">
          <a:avLst/>
        </a:prstGeom>
        <a:solidFill>
          <a:schemeClr val="accent3">
            <a:hueOff val="-2567512"/>
            <a:satOff val="48481"/>
            <a:lumOff val="-2941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2230" tIns="62230" rIns="62230" bIns="62230" numCol="1" spcCol="1270" anchor="ctr" anchorCtr="0">
          <a:noAutofit/>
        </a:bodyPr>
        <a:lstStyle/>
        <a:p>
          <a:pPr marL="0" lvl="0" indent="0" algn="ctr" defTabSz="2178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4900" kern="1200" dirty="0" err="1"/>
            <a:t>Skill</a:t>
          </a:r>
          <a:endParaRPr lang="nl-NL" sz="4900" kern="1200" dirty="0"/>
        </a:p>
      </dsp:txBody>
      <dsp:txXfrm>
        <a:off x="2068985" y="590423"/>
        <a:ext cx="1256489" cy="12564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8C497B-B161-4C6B-BE18-AAE3F9B1A23B}">
      <dsp:nvSpPr>
        <dsp:cNvPr id="0" name=""/>
        <dsp:cNvSpPr/>
      </dsp:nvSpPr>
      <dsp:spPr>
        <a:xfrm>
          <a:off x="2808698" y="69147"/>
          <a:ext cx="3319077" cy="3319077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600" kern="1200"/>
            <a:t>Personality</a:t>
          </a:r>
          <a:endParaRPr lang="nl-NL" sz="2600" kern="1200" dirty="0"/>
        </a:p>
      </dsp:txBody>
      <dsp:txXfrm>
        <a:off x="3251242" y="649985"/>
        <a:ext cx="2433989" cy="1493584"/>
      </dsp:txXfrm>
    </dsp:sp>
    <dsp:sp modelId="{40617E42-BAF7-41B4-BD87-836058590EEC}">
      <dsp:nvSpPr>
        <dsp:cNvPr id="0" name=""/>
        <dsp:cNvSpPr/>
      </dsp:nvSpPr>
      <dsp:spPr>
        <a:xfrm>
          <a:off x="4089774" y="2157311"/>
          <a:ext cx="3319077" cy="3319077"/>
        </a:xfrm>
        <a:prstGeom prst="ellipse">
          <a:avLst/>
        </a:prstGeom>
        <a:solidFill>
          <a:schemeClr val="accent3">
            <a:alpha val="50000"/>
            <a:hueOff val="-1283756"/>
            <a:satOff val="24240"/>
            <a:lumOff val="-1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600" kern="1200"/>
            <a:t>Temperament </a:t>
          </a:r>
          <a:endParaRPr lang="nl-NL" sz="2600" kern="1200" dirty="0"/>
        </a:p>
      </dsp:txBody>
      <dsp:txXfrm>
        <a:off x="5104858" y="3014739"/>
        <a:ext cx="1991446" cy="1825492"/>
      </dsp:txXfrm>
    </dsp:sp>
    <dsp:sp modelId="{4AF0792A-AC3C-4C4F-9A66-CA33D95372A5}">
      <dsp:nvSpPr>
        <dsp:cNvPr id="0" name=""/>
        <dsp:cNvSpPr/>
      </dsp:nvSpPr>
      <dsp:spPr>
        <a:xfrm>
          <a:off x="1611065" y="2143570"/>
          <a:ext cx="3319077" cy="3319077"/>
        </a:xfrm>
        <a:prstGeom prst="ellipse">
          <a:avLst/>
        </a:prstGeom>
        <a:solidFill>
          <a:schemeClr val="accent3">
            <a:alpha val="50000"/>
            <a:hueOff val="-2567512"/>
            <a:satOff val="48481"/>
            <a:lumOff val="-294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600" kern="1200"/>
            <a:t>Intuition</a:t>
          </a:r>
          <a:endParaRPr lang="nl-NL" sz="2600" kern="1200" dirty="0"/>
        </a:p>
      </dsp:txBody>
      <dsp:txXfrm>
        <a:off x="1923611" y="3000998"/>
        <a:ext cx="1991446" cy="18254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308162-9F3D-4CB2-9856-A331CB0D8F37}">
      <dsp:nvSpPr>
        <dsp:cNvPr id="0" name=""/>
        <dsp:cNvSpPr/>
      </dsp:nvSpPr>
      <dsp:spPr>
        <a:xfrm>
          <a:off x="506075" y="166010"/>
          <a:ext cx="2465208" cy="2465208"/>
        </a:xfrm>
        <a:prstGeom prst="pie">
          <a:avLst>
            <a:gd name="adj1" fmla="val 16200000"/>
            <a:gd name="adj2" fmla="val 19800000"/>
          </a:avLst>
        </a:prstGeom>
        <a:solidFill>
          <a:srgbClr val="996633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H</a:t>
          </a:r>
        </a:p>
      </dsp:txBody>
      <dsp:txXfrm>
        <a:off x="1797375" y="480911"/>
        <a:ext cx="645649" cy="498911"/>
      </dsp:txXfrm>
    </dsp:sp>
    <dsp:sp modelId="{03C0AFE9-A394-4168-8E05-3DD83BFD5B03}">
      <dsp:nvSpPr>
        <dsp:cNvPr id="0" name=""/>
        <dsp:cNvSpPr/>
      </dsp:nvSpPr>
      <dsp:spPr>
        <a:xfrm>
          <a:off x="535423" y="216781"/>
          <a:ext cx="2465208" cy="2465208"/>
        </a:xfrm>
        <a:prstGeom prst="pie">
          <a:avLst>
            <a:gd name="adj1" fmla="val 19800000"/>
            <a:gd name="adj2" fmla="val 1800000"/>
          </a:avLst>
        </a:prstGeom>
        <a:solidFill>
          <a:srgbClr val="7030A0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E</a:t>
          </a:r>
        </a:p>
      </dsp:txBody>
      <dsp:txXfrm>
        <a:off x="2208243" y="1214604"/>
        <a:ext cx="674997" cy="484237"/>
      </dsp:txXfrm>
    </dsp:sp>
    <dsp:sp modelId="{EA3DA3D3-3F47-4A2B-8F94-394CC3E9D2F1}">
      <dsp:nvSpPr>
        <dsp:cNvPr id="0" name=""/>
        <dsp:cNvSpPr/>
      </dsp:nvSpPr>
      <dsp:spPr>
        <a:xfrm>
          <a:off x="506075" y="267553"/>
          <a:ext cx="2465208" cy="2465208"/>
        </a:xfrm>
        <a:prstGeom prst="pie">
          <a:avLst>
            <a:gd name="adj1" fmla="val 1800000"/>
            <a:gd name="adj2" fmla="val 5400000"/>
          </a:avLst>
        </a:prstGeom>
        <a:solidFill>
          <a:srgbClr val="FF0000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X</a:t>
          </a:r>
        </a:p>
      </dsp:txBody>
      <dsp:txXfrm>
        <a:off x="1797375" y="1933623"/>
        <a:ext cx="645649" cy="498911"/>
      </dsp:txXfrm>
    </dsp:sp>
    <dsp:sp modelId="{E57D8FFF-D938-4F1F-832E-98B98B56931F}">
      <dsp:nvSpPr>
        <dsp:cNvPr id="0" name=""/>
        <dsp:cNvSpPr/>
      </dsp:nvSpPr>
      <dsp:spPr>
        <a:xfrm>
          <a:off x="447380" y="267553"/>
          <a:ext cx="2465208" cy="2465208"/>
        </a:xfrm>
        <a:prstGeom prst="pie">
          <a:avLst>
            <a:gd name="adj1" fmla="val 5400000"/>
            <a:gd name="adj2" fmla="val 9000000"/>
          </a:avLst>
        </a:prstGeom>
        <a:solidFill>
          <a:srgbClr val="00B050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A</a:t>
          </a:r>
        </a:p>
      </dsp:txBody>
      <dsp:txXfrm>
        <a:off x="975638" y="1933623"/>
        <a:ext cx="645649" cy="498911"/>
      </dsp:txXfrm>
    </dsp:sp>
    <dsp:sp modelId="{0409D0AC-2319-4E98-AC40-EE54B4A53C05}">
      <dsp:nvSpPr>
        <dsp:cNvPr id="0" name=""/>
        <dsp:cNvSpPr/>
      </dsp:nvSpPr>
      <dsp:spPr>
        <a:xfrm>
          <a:off x="418032" y="216781"/>
          <a:ext cx="2465208" cy="2465208"/>
        </a:xfrm>
        <a:prstGeom prst="pie">
          <a:avLst>
            <a:gd name="adj1" fmla="val 9000000"/>
            <a:gd name="adj2" fmla="val 1260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C</a:t>
          </a:r>
        </a:p>
      </dsp:txBody>
      <dsp:txXfrm>
        <a:off x="535423" y="1214604"/>
        <a:ext cx="674997" cy="484237"/>
      </dsp:txXfrm>
    </dsp:sp>
    <dsp:sp modelId="{1B88E2D0-3433-4E45-8B58-A3716DEB97F2}">
      <dsp:nvSpPr>
        <dsp:cNvPr id="0" name=""/>
        <dsp:cNvSpPr/>
      </dsp:nvSpPr>
      <dsp:spPr>
        <a:xfrm>
          <a:off x="447380" y="166010"/>
          <a:ext cx="2465208" cy="2465208"/>
        </a:xfrm>
        <a:prstGeom prst="pie">
          <a:avLst>
            <a:gd name="adj1" fmla="val 12600000"/>
            <a:gd name="adj2" fmla="val 16200000"/>
          </a:avLst>
        </a:prstGeom>
        <a:solidFill>
          <a:srgbClr val="FFFF66"/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rgbClr val="7030A0"/>
              </a:solidFill>
            </a:rPr>
            <a:t>O</a:t>
          </a:r>
        </a:p>
      </dsp:txBody>
      <dsp:txXfrm>
        <a:off x="975638" y="480911"/>
        <a:ext cx="645649" cy="498911"/>
      </dsp:txXfrm>
    </dsp:sp>
    <dsp:sp modelId="{44C748E8-930B-406E-BEB8-F5642D40C8B4}">
      <dsp:nvSpPr>
        <dsp:cNvPr id="0" name=""/>
        <dsp:cNvSpPr/>
      </dsp:nvSpPr>
      <dsp:spPr>
        <a:xfrm>
          <a:off x="353377" y="13402"/>
          <a:ext cx="2770424" cy="2770424"/>
        </a:xfrm>
        <a:prstGeom prst="circularArrow">
          <a:avLst>
            <a:gd name="adj1" fmla="val 5085"/>
            <a:gd name="adj2" fmla="val 327528"/>
            <a:gd name="adj3" fmla="val 19472472"/>
            <a:gd name="adj4" fmla="val 16200251"/>
            <a:gd name="adj5" fmla="val 5932"/>
          </a:avLst>
        </a:prstGeom>
        <a:solidFill>
          <a:schemeClr val="bg2">
            <a:lumMod val="6500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270762-92A2-48F1-949E-01F479164367}">
      <dsp:nvSpPr>
        <dsp:cNvPr id="0" name=""/>
        <dsp:cNvSpPr/>
      </dsp:nvSpPr>
      <dsp:spPr>
        <a:xfrm>
          <a:off x="382725" y="64173"/>
          <a:ext cx="2770424" cy="2770424"/>
        </a:xfrm>
        <a:prstGeom prst="circularArrow">
          <a:avLst>
            <a:gd name="adj1" fmla="val 5085"/>
            <a:gd name="adj2" fmla="val 327528"/>
            <a:gd name="adj3" fmla="val 1472472"/>
            <a:gd name="adj4" fmla="val 19800000"/>
            <a:gd name="adj5" fmla="val 5932"/>
          </a:avLst>
        </a:prstGeom>
        <a:solidFill>
          <a:schemeClr val="bg2">
            <a:lumMod val="6500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942A06-5F33-4336-BD49-066C9A4FEFE8}">
      <dsp:nvSpPr>
        <dsp:cNvPr id="0" name=""/>
        <dsp:cNvSpPr/>
      </dsp:nvSpPr>
      <dsp:spPr>
        <a:xfrm>
          <a:off x="353377" y="114945"/>
          <a:ext cx="2770424" cy="2770424"/>
        </a:xfrm>
        <a:prstGeom prst="circularArrow">
          <a:avLst>
            <a:gd name="adj1" fmla="val 5085"/>
            <a:gd name="adj2" fmla="val 327528"/>
            <a:gd name="adj3" fmla="val 5072221"/>
            <a:gd name="adj4" fmla="val 1800000"/>
            <a:gd name="adj5" fmla="val 5932"/>
          </a:avLst>
        </a:prstGeom>
        <a:solidFill>
          <a:schemeClr val="bg2">
            <a:lumMod val="6500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5F1BF3-E0DC-4F33-A330-0C7EB75D80B6}">
      <dsp:nvSpPr>
        <dsp:cNvPr id="0" name=""/>
        <dsp:cNvSpPr/>
      </dsp:nvSpPr>
      <dsp:spPr>
        <a:xfrm>
          <a:off x="294861" y="114945"/>
          <a:ext cx="2770424" cy="2770424"/>
        </a:xfrm>
        <a:prstGeom prst="circularArrow">
          <a:avLst>
            <a:gd name="adj1" fmla="val 5085"/>
            <a:gd name="adj2" fmla="val 327528"/>
            <a:gd name="adj3" fmla="val 8672472"/>
            <a:gd name="adj4" fmla="val 5400251"/>
            <a:gd name="adj5" fmla="val 5932"/>
          </a:avLst>
        </a:prstGeom>
        <a:solidFill>
          <a:schemeClr val="bg2">
            <a:lumMod val="6500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18A0DF-332D-4EBE-813B-EA0422D20715}">
      <dsp:nvSpPr>
        <dsp:cNvPr id="0" name=""/>
        <dsp:cNvSpPr/>
      </dsp:nvSpPr>
      <dsp:spPr>
        <a:xfrm>
          <a:off x="265514" y="64173"/>
          <a:ext cx="2770424" cy="2770424"/>
        </a:xfrm>
        <a:prstGeom prst="circularArrow">
          <a:avLst>
            <a:gd name="adj1" fmla="val 5085"/>
            <a:gd name="adj2" fmla="val 327528"/>
            <a:gd name="adj3" fmla="val 12272472"/>
            <a:gd name="adj4" fmla="val 9000000"/>
            <a:gd name="adj5" fmla="val 5932"/>
          </a:avLst>
        </a:prstGeom>
        <a:solidFill>
          <a:schemeClr val="bg2">
            <a:lumMod val="6500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BB7408-8B1F-48AB-ACB9-EC8FD88923F7}">
      <dsp:nvSpPr>
        <dsp:cNvPr id="0" name=""/>
        <dsp:cNvSpPr/>
      </dsp:nvSpPr>
      <dsp:spPr>
        <a:xfrm>
          <a:off x="294861" y="13402"/>
          <a:ext cx="2770424" cy="2770424"/>
        </a:xfrm>
        <a:prstGeom prst="circularArrow">
          <a:avLst>
            <a:gd name="adj1" fmla="val 5085"/>
            <a:gd name="adj2" fmla="val 327528"/>
            <a:gd name="adj3" fmla="val 15872221"/>
            <a:gd name="adj4" fmla="val 12600000"/>
            <a:gd name="adj5" fmla="val 5932"/>
          </a:avLst>
        </a:prstGeom>
        <a:solidFill>
          <a:schemeClr val="bg2">
            <a:lumMod val="65000"/>
          </a:schemeClr>
        </a:solidFill>
        <a:ln>
          <a:noFill/>
        </a:ln>
        <a:effectLst/>
        <a:sp3d z="5715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43FF37-6F37-4B7D-A768-4858DF6A889E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2B87DB-7ABE-42AE-A4A4-35AC7A994A0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9649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2175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3439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106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pn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.xml"/><Relationship Id="rId4" Type="http://schemas.openxmlformats.org/officeDocument/2006/relationships/image" Target="../media/image11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05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92881" lvl="0" indent="-192881" algn="l" defTabSz="257175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3"/>
            <a:ext cx="5489575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257175" rtl="0" eaLnBrk="1" fontAlgn="base" hangingPunct="1">
              <a:spcBef>
                <a:spcPct val="0"/>
              </a:spcBef>
              <a:spcAft>
                <a:spcPct val="0"/>
              </a:spcAft>
              <a:defRPr lang="en-US" sz="27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6" y="6023773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662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/>
        </p:nvSpPr>
        <p:spPr bwMode="auto">
          <a:xfrm>
            <a:off x="0" y="3"/>
            <a:ext cx="12192000" cy="950913"/>
          </a:xfrm>
          <a:custGeom>
            <a:avLst/>
            <a:gdLst/>
            <a:ahLst/>
            <a:cxnLst>
              <a:cxn ang="0">
                <a:pos x="0" y="208"/>
              </a:cxn>
              <a:cxn ang="0">
                <a:pos x="0" y="0"/>
              </a:cxn>
              <a:cxn ang="0">
                <a:pos x="3841" y="0"/>
              </a:cxn>
              <a:cxn ang="0">
                <a:pos x="3841" y="400"/>
              </a:cxn>
              <a:cxn ang="0">
                <a:pos x="184" y="400"/>
              </a:cxn>
              <a:cxn ang="0">
                <a:pos x="0" y="208"/>
              </a:cxn>
            </a:cxnLst>
            <a:rect l="0" t="0" r="r" b="b"/>
            <a:pathLst>
              <a:path w="3841" h="400">
                <a:moveTo>
                  <a:pt x="0" y="208"/>
                </a:moveTo>
                <a:lnTo>
                  <a:pt x="0" y="0"/>
                </a:lnTo>
                <a:lnTo>
                  <a:pt x="3841" y="0"/>
                </a:lnTo>
                <a:lnTo>
                  <a:pt x="3841" y="400"/>
                </a:lnTo>
                <a:lnTo>
                  <a:pt x="184" y="400"/>
                </a:lnTo>
                <a:lnTo>
                  <a:pt x="0" y="208"/>
                </a:lnTo>
                <a:close/>
              </a:path>
            </a:pathLst>
          </a:custGeom>
          <a:solidFill>
            <a:schemeClr val="accent4"/>
          </a:soli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350">
              <a:solidFill>
                <a:prstClr val="black"/>
              </a:solidFill>
            </a:endParaRPr>
          </a:p>
        </p:txBody>
      </p:sp>
      <p:pic>
        <p:nvPicPr>
          <p:cNvPr id="4" name="Picture 4" descr="02-UTI_Basisvormen_powerpoint_03.pn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35001" y="6061075"/>
            <a:ext cx="33866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-1842"/>
            <a:ext cx="10972800" cy="952242"/>
          </a:xfr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5601" y="6257928"/>
            <a:ext cx="2751667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CC993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0551584" y="6257928"/>
            <a:ext cx="1030816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CC99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8BED2987-2CEC-4C3B-B075-E617C7DC9A85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2"/>
          </p:nvPr>
        </p:nvSpPr>
        <p:spPr>
          <a:xfrm>
            <a:off x="6881286" y="6257928"/>
            <a:ext cx="314324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CC99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05F61EB-D598-4F5F-A8B5-4AD18D030931}" type="datetimeFigureOut">
              <a:rPr lang="en-US" smtClean="0"/>
              <a:pPr/>
              <a:t>6/2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44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5" y="2921002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05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92881" lvl="0" indent="-192881" algn="l" defTabSz="257175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5" y="1376363"/>
            <a:ext cx="5489575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257175" rtl="0" eaLnBrk="1" fontAlgn="base" hangingPunct="1">
              <a:spcBef>
                <a:spcPct val="0"/>
              </a:spcBef>
              <a:spcAft>
                <a:spcPct val="0"/>
              </a:spcAft>
              <a:defRPr lang="en-US" sz="27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5" y="6023771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592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448D1A-0EA1-4094-B31E-FFC45D68E40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5" y="-4762"/>
            <a:ext cx="11739556" cy="919161"/>
          </a:xfrm>
          <a:prstGeom prst="rect">
            <a:avLst/>
          </a:prstGeom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10345739" cy="4554000"/>
          </a:xfrm>
          <a:prstGeom prst="rect">
            <a:avLst/>
          </a:prstGeom>
        </p:spPr>
        <p:txBody>
          <a:bodyPr lIns="93600" rIns="93600"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2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5331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5" y="2921002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05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92881" lvl="0" indent="-192881" algn="l" defTabSz="257175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5" y="1376365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257175" rtl="0" eaLnBrk="1" fontAlgn="base" hangingPunct="1">
              <a:spcBef>
                <a:spcPct val="0"/>
              </a:spcBef>
              <a:spcAft>
                <a:spcPct val="0"/>
              </a:spcAft>
              <a:defRPr lang="en-US" sz="27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5" y="6023771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232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6" y="1410513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257175" rtl="0" eaLnBrk="1" fontAlgn="base" hangingPunct="1">
              <a:spcBef>
                <a:spcPct val="0"/>
              </a:spcBef>
              <a:spcAft>
                <a:spcPct val="0"/>
              </a:spcAft>
              <a:defRPr lang="en-US" sz="24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9439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5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11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7A7DA1-56CA-43D9-9BC3-AB8DC997492B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l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7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692816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5" y="-4762"/>
            <a:ext cx="11739556" cy="919161"/>
          </a:xfrm>
          <a:prstGeom prst="rect">
            <a:avLst/>
          </a:prstGeom>
        </p:spPr>
      </p:pic>
      <p:sp>
        <p:nvSpPr>
          <p:cNvPr id="7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C9951E-4C3A-4C75-8F94-29E7C670949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1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 lIns="72000" r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783228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5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77D0B92-932B-4C24-892F-FD6740BFBA84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1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6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6" y="1376363"/>
            <a:ext cx="4919663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33021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6">
          <p15:clr>
            <a:srgbClr val="FBAE40"/>
          </p15:clr>
        </p15:guide>
        <p15:guide id="2" orient="horz" pos="144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5" y="-4762"/>
            <a:ext cx="11739556" cy="919161"/>
          </a:xfrm>
          <a:prstGeom prst="rect">
            <a:avLst/>
          </a:prstGeom>
        </p:spPr>
      </p:pic>
      <p:sp>
        <p:nvSpPr>
          <p:cNvPr id="10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3F40343-07C2-4386-B15D-D614352A2D2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4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37262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5" y="-4762"/>
            <a:ext cx="11739556" cy="919161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76CC1-DEC1-4BCE-9759-D81D521E3FC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402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448D1A-0EA1-4094-B31E-FFC45D68E40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10345739" cy="4554000"/>
          </a:xfrm>
          <a:prstGeom prst="rect">
            <a:avLst/>
          </a:prstGeom>
        </p:spPr>
        <p:txBody>
          <a:bodyPr lIns="93600" rIns="93600"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2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7615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407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7" y="2921006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44661" lvl="0" indent="-144661" algn="l" defTabSz="192881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7" y="1376363"/>
            <a:ext cx="5489575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7" y="6023775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778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448D1A-0EA1-4094-B31E-FFC45D68E40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7" y="-4762"/>
            <a:ext cx="11739556" cy="919161"/>
          </a:xfrm>
          <a:prstGeom prst="rect">
            <a:avLst/>
          </a:prstGeom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10345739" cy="4554000"/>
          </a:xfrm>
          <a:prstGeom prst="rect">
            <a:avLst/>
          </a:prstGeom>
        </p:spPr>
        <p:txBody>
          <a:bodyPr lIns="93600" rIns="93600"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900"/>
            </a:lvl4pPr>
            <a:lvl5pPr>
              <a:buClr>
                <a:schemeClr val="tx2"/>
              </a:buCl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6801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7" y="2921006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44661" lvl="0" indent="-144661" algn="l" defTabSz="192881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7" y="1376369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7" y="6023775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28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7" y="1410517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18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769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7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11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7A7DA1-56CA-43D9-9BC3-AB8DC997492B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l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6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54601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7" y="-4762"/>
            <a:ext cx="11739556" cy="919161"/>
          </a:xfrm>
          <a:prstGeom prst="rect">
            <a:avLst/>
          </a:prstGeom>
        </p:spPr>
      </p:pic>
      <p:sp>
        <p:nvSpPr>
          <p:cNvPr id="7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C9951E-4C3A-4C75-8F94-29E7C670949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1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 lIns="72000" r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198730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7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77D0B92-932B-4C24-892F-FD6740BFBA84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1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6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8" y="1376363"/>
            <a:ext cx="4919663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7289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6">
          <p15:clr>
            <a:srgbClr val="FBAE40"/>
          </p15:clr>
        </p15:guide>
        <p15:guide id="2" orient="horz" pos="144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7" y="-4762"/>
            <a:ext cx="11739556" cy="919161"/>
          </a:xfrm>
          <a:prstGeom prst="rect">
            <a:avLst/>
          </a:prstGeom>
        </p:spPr>
      </p:pic>
      <p:sp>
        <p:nvSpPr>
          <p:cNvPr id="10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3F40343-07C2-4386-B15D-D614352A2D2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4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283614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7" y="-4762"/>
            <a:ext cx="11739556" cy="919161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76CC1-DEC1-4BCE-9759-D81D521E3FC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804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05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257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85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800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92881" lvl="0" indent="-192881" algn="l" defTabSz="257175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7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257175" rtl="0" eaLnBrk="1" fontAlgn="base" hangingPunct="1">
              <a:spcBef>
                <a:spcPct val="0"/>
              </a:spcBef>
              <a:spcAft>
                <a:spcPct val="0"/>
              </a:spcAft>
              <a:defRPr lang="en-US" sz="27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6" y="6023773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106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5315D6-78C5-9445-BA5D-58140825236F}" type="datetimeFigureOut">
              <a:rPr lang="en-US" smtClean="0">
                <a:solidFill>
                  <a:srgbClr val="CC9933"/>
                </a:solidFill>
              </a:rPr>
              <a:pPr/>
              <a:t>6/27/2022</a:t>
            </a:fld>
            <a:endParaRPr lang="en-US">
              <a:solidFill>
                <a:srgbClr val="CC9933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CC9933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40C5A-C822-6A40-B389-FCADAAB73273}" type="slidenum">
              <a:rPr lang="en-US" smtClean="0">
                <a:solidFill>
                  <a:srgbClr val="CC9933"/>
                </a:solidFill>
              </a:rPr>
              <a:pPr/>
              <a:t>‹nr.›</a:t>
            </a:fld>
            <a:endParaRPr lang="en-US">
              <a:solidFill>
                <a:srgbClr val="CC99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476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/>
        </p:nvSpPr>
        <p:spPr bwMode="auto">
          <a:xfrm>
            <a:off x="0" y="3"/>
            <a:ext cx="12192000" cy="950913"/>
          </a:xfrm>
          <a:custGeom>
            <a:avLst/>
            <a:gdLst/>
            <a:ahLst/>
            <a:cxnLst>
              <a:cxn ang="0">
                <a:pos x="0" y="208"/>
              </a:cxn>
              <a:cxn ang="0">
                <a:pos x="0" y="0"/>
              </a:cxn>
              <a:cxn ang="0">
                <a:pos x="3841" y="0"/>
              </a:cxn>
              <a:cxn ang="0">
                <a:pos x="3841" y="400"/>
              </a:cxn>
              <a:cxn ang="0">
                <a:pos x="184" y="400"/>
              </a:cxn>
              <a:cxn ang="0">
                <a:pos x="0" y="208"/>
              </a:cxn>
            </a:cxnLst>
            <a:rect l="0" t="0" r="r" b="b"/>
            <a:pathLst>
              <a:path w="3841" h="400">
                <a:moveTo>
                  <a:pt x="0" y="208"/>
                </a:moveTo>
                <a:lnTo>
                  <a:pt x="0" y="0"/>
                </a:lnTo>
                <a:lnTo>
                  <a:pt x="3841" y="0"/>
                </a:lnTo>
                <a:lnTo>
                  <a:pt x="3841" y="400"/>
                </a:lnTo>
                <a:lnTo>
                  <a:pt x="184" y="400"/>
                </a:lnTo>
                <a:lnTo>
                  <a:pt x="0" y="208"/>
                </a:lnTo>
                <a:close/>
              </a:path>
            </a:pathLst>
          </a:custGeom>
          <a:solidFill>
            <a:schemeClr val="accent4"/>
          </a:solidFill>
          <a:ln w="12700">
            <a:noFill/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pic>
        <p:nvPicPr>
          <p:cNvPr id="4" name="Picture 4" descr="02-UTI_Basisvormen_powerpoint_03.png"/>
          <p:cNvPicPr>
            <a:picLocks noChangeAspect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35001" y="6061075"/>
            <a:ext cx="3386667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-1842"/>
            <a:ext cx="10972800" cy="952242"/>
          </a:xfrm>
        </p:spPr>
        <p:txBody>
          <a:bodyPr>
            <a:normAutofit/>
          </a:bodyPr>
          <a:lstStyle>
            <a:lvl1pPr algn="l"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65601" y="6257930"/>
            <a:ext cx="2751667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675" smtClean="0">
                <a:solidFill>
                  <a:srgbClr val="CC993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0551584" y="6257930"/>
            <a:ext cx="1030816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675">
                <a:solidFill>
                  <a:srgbClr val="CC99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8BED2987-2CEC-4C3B-B075-E617C7DC9A85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2"/>
          </p:nvPr>
        </p:nvSpPr>
        <p:spPr>
          <a:xfrm>
            <a:off x="6881288" y="6257930"/>
            <a:ext cx="3143249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675">
                <a:solidFill>
                  <a:srgbClr val="CC99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C05F61EB-D598-4F5F-A8B5-4AD18D030931}" type="datetimeFigureOut">
              <a:rPr lang="en-US" smtClean="0"/>
              <a:pPr/>
              <a:t>6/2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853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44661" lvl="0" indent="-144661" algn="l" defTabSz="192881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3"/>
            <a:ext cx="5489575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6" y="6023773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041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448D1A-0EA1-4094-B31E-FFC45D68E40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10345739" cy="4554000"/>
          </a:xfrm>
          <a:prstGeom prst="rect">
            <a:avLst/>
          </a:prstGeom>
        </p:spPr>
        <p:txBody>
          <a:bodyPr lIns="93600" rIns="93600"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900"/>
            </a:lvl4pPr>
            <a:lvl5pPr>
              <a:buClr>
                <a:schemeClr val="tx2"/>
              </a:buCl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792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44661" lvl="0" indent="-144661" algn="l" defTabSz="192881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7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6" y="6023773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249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7" y="1410515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18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0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11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7A7DA1-56CA-43D9-9BC3-AB8DC997492B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l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6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55921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7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C9951E-4C3A-4C75-8F94-29E7C670949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1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 lIns="72000" r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57508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77D0B92-932B-4C24-892F-FD6740BFBA84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1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6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7" y="1376363"/>
            <a:ext cx="4919663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62138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6">
          <p15:clr>
            <a:srgbClr val="FBAE40"/>
          </p15:clr>
        </p15:guide>
        <p15:guide id="2" orient="horz" pos="144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10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3F40343-07C2-4386-B15D-D614352A2D2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4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011878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7" y="1410515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257175" rtl="0" eaLnBrk="1" fontAlgn="base" hangingPunct="1">
              <a:spcBef>
                <a:spcPct val="0"/>
              </a:spcBef>
              <a:spcAft>
                <a:spcPct val="0"/>
              </a:spcAft>
              <a:defRPr lang="en-US" sz="24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162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76CC1-DEC1-4BCE-9759-D81D521E3FC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126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584" y="1376363"/>
            <a:ext cx="6847416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1" y="6024564"/>
            <a:ext cx="1576916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3"/>
            <a:ext cx="5489575" cy="1544638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7735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10345739" cy="45540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900"/>
            </a:lvl4pPr>
            <a:lvl5pPr>
              <a:buClr>
                <a:schemeClr val="tx2"/>
              </a:buCl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C453C89-AE0A-4B29-94D8-5A239E786AF0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  <p:sp>
        <p:nvSpPr>
          <p:cNvPr id="6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71FB6B5-4B8B-4C05-B5A7-ADD5C60589E6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630316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584" y="1376363"/>
            <a:ext cx="6847416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1" y="6024564"/>
            <a:ext cx="1576916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7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273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7" y="1410515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18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04919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6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7D501C8-61A8-4A50-BF0B-A1F19E4349D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6" name="Date Placeholder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52E865A-46DC-4D91-A5C2-EB7F7C2BD9E4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49347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1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145E7CA-BF2F-4718-8D07-642821F90E5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8" name="Date Placeholder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9A5E39F-BF62-4941-93F2-2F90F34697A3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46772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1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anchor="ctr" anchorCtr="0"/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6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7" y="1376363"/>
            <a:ext cx="4919663" cy="745558"/>
          </a:xfrm>
        </p:spPr>
        <p:txBody>
          <a:bodyPr anchor="ctr" anchorCtr="0"/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FC44AB-2B74-4C8B-AD3D-F22D0D537ED4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98D0A78-AE24-431B-A63E-5EE31B6DD7C3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250910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4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80F380-71ED-4A2E-9BD5-42F50033A21D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C5D5393-5B44-452A-8D88-928ABEE27455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36256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F43E22C-2BCB-496F-9DA5-E49A4D831E30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1D79720-09FD-4D95-8126-B42E64549940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20286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11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7A7DA1-56CA-43D9-9BC3-AB8DC997492B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l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6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87440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4" y="2921000"/>
            <a:ext cx="5489574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4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57175" lvl="0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4" y="1376363"/>
            <a:ext cx="5489574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6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4" y="6023769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199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4" y="-4762"/>
            <a:ext cx="11739556" cy="919161"/>
          </a:xfrm>
          <a:prstGeom prst="rect">
            <a:avLst/>
          </a:prstGeom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4" y="1376363"/>
            <a:ext cx="10345739" cy="4554000"/>
          </a:xfrm>
          <a:prstGeom prst="rect">
            <a:avLst/>
          </a:prstGeom>
        </p:spPr>
        <p:txBody>
          <a:bodyPr lIns="93600" rIns="93600"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9785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3525" y="1376363"/>
            <a:ext cx="6848475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4" y="2921000"/>
            <a:ext cx="5489574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4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57175" lvl="0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3" y="1376363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6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6244" y="6023769"/>
            <a:ext cx="1576388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103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5" y="1410511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510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4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DFD8C83-81C1-4276-B7A6-9AAEA0DC8ADB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1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l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8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61724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4" y="-4762"/>
            <a:ext cx="11739556" cy="919161"/>
          </a:xfrm>
          <a:prstGeom prst="rect">
            <a:avLst/>
          </a:prstGeom>
        </p:spPr>
      </p:pic>
      <p:sp>
        <p:nvSpPr>
          <p:cNvPr id="7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0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 lIns="72000" r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60555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4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DFD8C83-81C1-4276-B7A6-9AAEA0DC8ADB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0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4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5" y="1376363"/>
            <a:ext cx="4919662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927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6">
          <p15:clr>
            <a:srgbClr val="FBAE40"/>
          </p15:clr>
        </p15:guide>
        <p15:guide id="2" orient="horz" pos="144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4" y="-4762"/>
            <a:ext cx="11739556" cy="919161"/>
          </a:xfrm>
          <a:prstGeom prst="rect">
            <a:avLst/>
          </a:prstGeom>
        </p:spPr>
      </p:pic>
      <p:sp>
        <p:nvSpPr>
          <p:cNvPr id="10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66848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4" y="-4762"/>
            <a:ext cx="11739556" cy="919161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D8C83-81C1-4276-B7A6-9AAEA0DC8ADB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38626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5315D6-78C5-9445-BA5D-58140825236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7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B40C5A-C822-6A40-B389-FCADAAB732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810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7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CC9951E-4C3A-4C75-8F94-29E7C670949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1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 lIns="72000" r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70980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09600" y="223200"/>
            <a:ext cx="10972800" cy="741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l-NL" dirty="0"/>
              <a:t>Beeld links, tekst rechts</a:t>
            </a:r>
          </a:p>
        </p:txBody>
      </p:sp>
      <p:sp>
        <p:nvSpPr>
          <p:cNvPr id="14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609600" y="1231200"/>
            <a:ext cx="5147733" cy="4852100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latin typeface="Arial"/>
                <a:cs typeface="Arial"/>
              </a:defRPr>
            </a:lvl1pPr>
          </a:lstStyle>
          <a:p>
            <a:pPr lvl="0"/>
            <a:r>
              <a:rPr lang="nl-NL" dirty="0"/>
              <a:t>Foto/afbeelding</a:t>
            </a:r>
          </a:p>
        </p:txBody>
      </p:sp>
      <p:sp>
        <p:nvSpPr>
          <p:cNvPr id="17" name="Tijdelijke aanduiding voor inhoud 2"/>
          <p:cNvSpPr>
            <a:spLocks noGrp="1"/>
          </p:cNvSpPr>
          <p:nvPr>
            <p:ph idx="13"/>
          </p:nvPr>
        </p:nvSpPr>
        <p:spPr>
          <a:xfrm>
            <a:off x="6062133" y="1231200"/>
            <a:ext cx="5520267" cy="4852100"/>
          </a:xfrm>
          <a:prstGeom prst="rect">
            <a:avLst/>
          </a:prstGeom>
        </p:spPr>
        <p:txBody>
          <a:bodyPr/>
          <a:lstStyle>
            <a:lvl1pPr>
              <a:buClr>
                <a:srgbClr val="B70618"/>
              </a:buClr>
              <a:defRPr sz="20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575733" y="64960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nl-NL" dirty="0">
                <a:solidFill>
                  <a:prstClr val="white"/>
                </a:solidFill>
              </a:rPr>
              <a:t>© Freese, 2016</a:t>
            </a:r>
          </a:p>
          <a:p>
            <a:endParaRPr lang="nl-NL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9200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584" y="1376363"/>
            <a:ext cx="6847416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1" y="6024564"/>
            <a:ext cx="1576916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3"/>
            <a:ext cx="5489575" cy="1544638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7484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10345739" cy="45540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900"/>
            </a:lvl4pPr>
            <a:lvl5pPr>
              <a:buClr>
                <a:schemeClr val="tx2"/>
              </a:buCl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EC1E703-BBBF-40C8-9C46-3A9247B2CC36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  <p:sp>
        <p:nvSpPr>
          <p:cNvPr id="6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AF5F26B-8D10-4943-8E2E-D19B19660A72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347540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584" y="1376363"/>
            <a:ext cx="6847416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1" y="6024564"/>
            <a:ext cx="1576916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0466" y="2921004"/>
            <a:ext cx="5489575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 marL="0" indent="0" algn="l">
              <a:buNone/>
              <a:defRPr lang="en-US" sz="788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1928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7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771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964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157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350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543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0466" y="1376367"/>
            <a:ext cx="5489575" cy="1544637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2025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2916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4277" y="1410515"/>
            <a:ext cx="5465763" cy="1510489"/>
          </a:xfr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>
            <a:lvl1pPr algn="l" defTabSz="192881" rtl="0" eaLnBrk="1" fontAlgn="base" hangingPunct="1">
              <a:spcBef>
                <a:spcPct val="0"/>
              </a:spcBef>
              <a:spcAft>
                <a:spcPct val="0"/>
              </a:spcAft>
              <a:defRPr lang="en-US" sz="18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49849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06" y="0"/>
            <a:ext cx="12200708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rtlCol="0" anchor="ctr">
            <a:normAutofit/>
          </a:bodyPr>
          <a:lstStyle>
            <a:lvl1pPr algn="l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5" name="Slide Number Placeholder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583410E-7B24-466C-8536-AC11F4E74EC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6" name="Date Placeholder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AF23C0D-A0B8-4839-90AF-50847FF01A17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145570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1376363"/>
            <a:ext cx="4921251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3"/>
            <a:ext cx="4919664" cy="45540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F69674B-7822-4971-9E7F-B78DF7CC9C93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8" name="Date Placeholder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D38FD4D-828E-4A28-BD18-C15DFFE1D18D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10" name="Footer Placeholder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08498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1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anchor="ctr"/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6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7" y="1376363"/>
            <a:ext cx="4919663" cy="745558"/>
          </a:xfrm>
        </p:spPr>
        <p:txBody>
          <a:bodyPr anchor="ctr"/>
          <a:lstStyle>
            <a:lvl1pPr marL="0" indent="0">
              <a:buNone/>
              <a:defRPr sz="135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65D34E7-FDFE-4FEC-8DFD-FA8F7A070C71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23DAA47-DA98-4B22-B646-89A37F84D17A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219178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4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900"/>
            </a:lvl4pPr>
            <a:lvl5pPr>
              <a:buClrTx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rtlCol="0" anchor="ctr">
            <a:norm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nl-NL" noProof="0" dirty="0"/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832D0AB-F36A-40F6-8F12-BA6EE362D69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0891083-D52E-495D-AFC1-1C157F0C2B0E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021882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68" y="-4763"/>
            <a:ext cx="11739033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B29A7B6-70C2-4D58-A725-B29D25D58917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4" name="Date Placeholder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5070F86-95B3-4105-BE18-CED98EB71AFE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9753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1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77D0B92-932B-4C24-892F-FD6740BFBA84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48413" y="2295525"/>
            <a:ext cx="4921251" cy="3635376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48413" y="1376363"/>
            <a:ext cx="4921251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2295526"/>
            <a:ext cx="4919664" cy="364807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3927" y="1376363"/>
            <a:ext cx="4919663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5622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6">
          <p15:clr>
            <a:srgbClr val="FBAE40"/>
          </p15:clr>
        </p15:guide>
        <p15:guide id="2" orient="horz" pos="1446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001837"/>
            <a:ext cx="9144000" cy="1508125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516313"/>
            <a:ext cx="9144000" cy="5603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4579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2146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9772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846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947058" y="859972"/>
            <a:ext cx="5032828" cy="312968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0938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62500" y="2238375"/>
            <a:ext cx="2667000" cy="35052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3919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1192213" y="1972986"/>
            <a:ext cx="2926080" cy="292608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4630322" y="1972986"/>
            <a:ext cx="2926080" cy="292608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8094924" y="1972986"/>
            <a:ext cx="2926080" cy="2926080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713068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2444559" y="2124022"/>
            <a:ext cx="2112264" cy="2112264"/>
          </a:xfrm>
          <a:prstGeom prst="ellipse">
            <a:avLst/>
          </a:prstGeom>
          <a:ln w="31750">
            <a:solidFill>
              <a:schemeClr val="accent3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235690" y="1829827"/>
            <a:ext cx="1675330" cy="1676399"/>
          </a:xfrm>
          <a:prstGeom prst="ellipse">
            <a:avLst/>
          </a:prstGeom>
          <a:ln w="31750">
            <a:solidFill>
              <a:schemeClr val="accent6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45310" y="3470032"/>
            <a:ext cx="1675330" cy="1676399"/>
          </a:xfrm>
          <a:prstGeom prst="ellipse">
            <a:avLst/>
          </a:prstGeom>
          <a:ln w="31750">
            <a:solidFill>
              <a:schemeClr val="accent5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578569" y="4234222"/>
            <a:ext cx="1675330" cy="1676399"/>
          </a:xfrm>
          <a:prstGeom prst="ellipse">
            <a:avLst/>
          </a:prstGeom>
          <a:ln w="31750"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457543" y="3849452"/>
            <a:ext cx="1498058" cy="1498058"/>
          </a:xfrm>
          <a:prstGeom prst="ellipse">
            <a:avLst/>
          </a:prstGeom>
          <a:ln w="31750">
            <a:solidFill>
              <a:schemeClr val="accent4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89522" y="3006385"/>
            <a:ext cx="2033081" cy="2033081"/>
          </a:xfrm>
          <a:prstGeom prst="ellipse">
            <a:avLst/>
          </a:prstGeom>
          <a:ln w="31750">
            <a:solidFill>
              <a:schemeClr val="accent1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5252529" y="4861127"/>
            <a:ext cx="1070445" cy="1047872"/>
          </a:xfrm>
          <a:prstGeom prst="ellipse">
            <a:avLst/>
          </a:prstGeom>
          <a:ln w="31750">
            <a:solidFill>
              <a:schemeClr val="accent2"/>
            </a:solidFill>
          </a:ln>
        </p:spPr>
        <p:txBody>
          <a:bodyPr>
            <a:normAutofit/>
          </a:bodyPr>
          <a:lstStyle>
            <a:lvl1pPr>
              <a:defRPr sz="10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3982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975384" y="2597783"/>
            <a:ext cx="2468880" cy="246888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0">
            <a:solidFill>
              <a:schemeClr val="bg1"/>
            </a:solidFill>
          </a:ln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493402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78814" y="2028507"/>
            <a:ext cx="1737360" cy="1737360"/>
          </a:xfrm>
          <a:prstGeom prst="ellipse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78814" y="4180882"/>
            <a:ext cx="1737360" cy="1737360"/>
          </a:xfrm>
          <a:prstGeom prst="ellipse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6136005" y="2028507"/>
            <a:ext cx="1737360" cy="1737360"/>
          </a:xfrm>
          <a:prstGeom prst="ellipse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6136005" y="4180882"/>
            <a:ext cx="1737360" cy="1737360"/>
          </a:xfrm>
          <a:prstGeom prst="ellipse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093534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0" y="2806700"/>
            <a:ext cx="12192000" cy="24479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541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10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3F40343-07C2-4386-B15D-D614352A2D2C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3925" y="1376364"/>
            <a:ext cx="4919664" cy="4551771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200"/>
            </a:lvl4pPr>
            <a:lvl5pPr>
              <a:buClrTx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  <p:sp>
        <p:nvSpPr>
          <p:cNvPr id="12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48413" y="914400"/>
            <a:ext cx="5843587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67370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84809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64989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300" y="365125"/>
            <a:ext cx="10058400" cy="94297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422400" y="1041400"/>
            <a:ext cx="10083800" cy="5969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9600" y="1771650"/>
            <a:ext cx="4943475" cy="2225675"/>
          </a:xfrm>
        </p:spPr>
        <p:txBody>
          <a:bodyPr/>
          <a:lstStyle/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627494" y="1771650"/>
            <a:ext cx="4946904" cy="2225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17621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ing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44361"/>
          </a:xfrm>
        </p:spPr>
        <p:txBody>
          <a:bodyPr/>
          <a:lstStyle>
            <a:lvl1pPr algn="ctr"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778375" y="1661886"/>
            <a:ext cx="2635250" cy="2635250"/>
          </a:xfrm>
          <a:prstGeom prst="ellipse">
            <a:avLst/>
          </a:prstGeom>
          <a:ln w="25400">
            <a:solidFill>
              <a:schemeClr val="bg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0099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2518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hit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2" imgH="504" progId="TCLayout.ActiveDocument.1">
                  <p:embed/>
                </p:oleObj>
              </mc:Choice>
              <mc:Fallback>
                <p:oleObj name="think-cell Slide" r:id="rId3" imgW="492" imgH="50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ctrTitle"/>
          </p:nvPr>
        </p:nvSpPr>
        <p:spPr bwMode="gray">
          <a:xfrm>
            <a:off x="531621" y="5748868"/>
            <a:ext cx="5564379" cy="259844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531621" y="6026728"/>
            <a:ext cx="5564379" cy="2752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31621" y="6313814"/>
            <a:ext cx="5564379" cy="298450"/>
          </a:xfrm>
          <a:prstGeom prst="rect">
            <a:avLst/>
          </a:prstGeom>
        </p:spPr>
        <p:txBody>
          <a:bodyPr lIns="0" tIns="0" rIns="0" bIns="0"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992780" y="667541"/>
            <a:ext cx="6203077" cy="504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7998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94944"/>
            <a:ext cx="10363200" cy="380323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400" b="0" spc="-75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914721" y="1115568"/>
            <a:ext cx="10362880" cy="475488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228600" lvl="0" indent="-228600">
              <a:lnSpc>
                <a:spcPct val="130000"/>
              </a:lnSpc>
            </a:pPr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093505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 rtlCol="0"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622331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tlCol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 rtlCol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 rtl="0"/>
            <a:r>
              <a:rPr lang="en-GB" noProof="0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175436151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Balance ac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b" anchorCtr="0">
            <a:normAutofit/>
          </a:bodyPr>
          <a:lstStyle>
            <a:lvl1pPr>
              <a:lnSpc>
                <a:spcPts val="4000"/>
              </a:lnSpc>
              <a:defRPr sz="3200" cap="all" baseline="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646470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Balancing Ac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0869985-B973-4011-9FA2-83D7EBB2EA53}"/>
              </a:ext>
            </a:extLst>
          </p:cNvPr>
          <p:cNvSpPr/>
          <p:nvPr userDrawn="1"/>
        </p:nvSpPr>
        <p:spPr>
          <a:xfrm>
            <a:off x="0" y="2400300"/>
            <a:ext cx="4267200" cy="4457700"/>
          </a:xfrm>
          <a:prstGeom prst="rect">
            <a:avLst/>
          </a:prstGeom>
          <a:solidFill>
            <a:srgbClr val="D29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99032"/>
            <a:ext cx="3619501" cy="877824"/>
          </a:xfrm>
        </p:spPr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79776"/>
            <a:ext cx="3465576" cy="3255264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4500" y="0"/>
            <a:ext cx="7480300" cy="6858000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5D44F0-DADD-4DCC-82EC-FDB3E9878AA9}"/>
              </a:ext>
            </a:extLst>
          </p:cNvPr>
          <p:cNvSpPr/>
          <p:nvPr userDrawn="1"/>
        </p:nvSpPr>
        <p:spPr>
          <a:xfrm>
            <a:off x="11734800" y="4445000"/>
            <a:ext cx="457200" cy="2413000"/>
          </a:xfrm>
          <a:prstGeom prst="rect">
            <a:avLst/>
          </a:prstGeom>
          <a:solidFill>
            <a:srgbClr val="884C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CFE2C9-8B6E-4DDA-A5EA-04581F7629F0}"/>
              </a:ext>
            </a:extLst>
          </p:cNvPr>
          <p:cNvSpPr/>
          <p:nvPr userDrawn="1"/>
        </p:nvSpPr>
        <p:spPr>
          <a:xfrm>
            <a:off x="11734800" y="0"/>
            <a:ext cx="457200" cy="4462272"/>
          </a:xfrm>
          <a:prstGeom prst="rect">
            <a:avLst/>
          </a:prstGeom>
          <a:solidFill>
            <a:srgbClr val="86A2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8008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en-US" sz="18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 rtlCol="0"/>
          <a:lstStyle>
            <a:lvl1pPr>
              <a:lnSpc>
                <a:spcPts val="4600"/>
              </a:lnSpc>
              <a:defRPr/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 rtlCol="0"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96759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46" y="-4762"/>
            <a:ext cx="11739556" cy="919161"/>
          </a:xfrm>
          <a:prstGeom prst="rect">
            <a:avLst/>
          </a:prstGeom>
        </p:spPr>
      </p:pic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>
              <a:solidFill>
                <a:srgbClr val="CC9933"/>
              </a:solidFill>
            </a:endParaRPr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F76CC1-DEC1-4BCE-9759-D81D521E3FC2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>
              <a:solidFill>
                <a:srgbClr val="CC99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0769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E71D1C6E-7335-7646-AB3E-84CDBEABA7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92036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1289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6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Herospac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9" y="5940000"/>
            <a:ext cx="12240008" cy="918000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4277" y="6210984"/>
            <a:ext cx="38576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685800"/>
            <a:fld id="{CDFD8C83-81C1-4276-B7A6-9AAEA0DC8ADB}" type="slidenum">
              <a:rPr lang="nl-NL" smtClean="0">
                <a:solidFill>
                  <a:srgbClr val="CC9933"/>
                </a:solidFill>
              </a:rPr>
              <a:pPr defTabSz="685800"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6975" y="6210985"/>
            <a:ext cx="2452688" cy="365125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pPr defTabSz="685800"/>
            <a:fld id="{C3089839-FAAF-4102-A6E2-E5E16F9289FD}" type="datetime1">
              <a:rPr lang="nl-NL" smtClean="0">
                <a:solidFill>
                  <a:srgbClr val="CC9933"/>
                </a:solidFill>
              </a:rPr>
              <a:pPr defTabSz="685800"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1115" y="6210985"/>
            <a:ext cx="2459037" cy="365125"/>
          </a:xfrm>
          <a:prstGeom prst="rect">
            <a:avLst/>
          </a:prstGeom>
          <a:blipFill rotWithShape="1">
            <a:blip r:embed="rId14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685800"/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3928" y="1376363"/>
            <a:ext cx="10345737" cy="4552724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026" name="Title Placeholder"/>
          <p:cNvSpPr>
            <a:spLocks noGrp="1"/>
          </p:cNvSpPr>
          <p:nvPr>
            <p:ph type="title"/>
          </p:nvPr>
        </p:nvSpPr>
        <p:spPr bwMode="auto">
          <a:xfrm>
            <a:off x="923925" y="0"/>
            <a:ext cx="10345739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01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1" r:id="rId1"/>
    <p:sldLayoutId id="2147484252" r:id="rId2"/>
    <p:sldLayoutId id="2147484253" r:id="rId3"/>
    <p:sldLayoutId id="2147484254" r:id="rId4"/>
    <p:sldLayoutId id="2147484255" r:id="rId5"/>
    <p:sldLayoutId id="2147484256" r:id="rId6"/>
    <p:sldLayoutId id="2147484257" r:id="rId7"/>
    <p:sldLayoutId id="2147484258" r:id="rId8"/>
    <p:sldLayoutId id="2147484259" r:id="rId9"/>
    <p:sldLayoutId id="2147484261" r:id="rId10"/>
  </p:sldLayoutIdLst>
  <p:hf hdr="0" ftr="0"/>
  <p:txStyles>
    <p:titleStyle>
      <a:lvl1pPr algn="l" defTabSz="2571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257175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514350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771525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1028700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192881" indent="-192881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8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417910" indent="-160735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5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642938" indent="-128588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35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900113" indent="-128588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1157288" indent="-128588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2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6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3A1EFD6E-39BF-4D74-9381-BC19FCC78926}" type="datetime1">
              <a:rPr lang="en-GB" noProof="0" smtClean="0"/>
              <a:t>27/06/2022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FC5FADE3-B84E-4AF7-91CC-AB47E1A43619}" type="slidenum">
              <a:rPr lang="en-GB" noProof="0" smtClean="0"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0066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6" r:id="rId1"/>
    <p:sldLayoutId id="2147484817" r:id="rId2"/>
    <p:sldLayoutId id="2147484818" r:id="rId3"/>
    <p:sldLayoutId id="2147484819" r:id="rId4"/>
    <p:sldLayoutId id="2147484820" r:id="rId5"/>
    <p:sldLayoutId id="2147484821" r:id="rId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>
          <p15:clr>
            <a:srgbClr val="F26B43"/>
          </p15:clr>
        </p15:guide>
        <p15:guide id="2" pos="2568">
          <p15:clr>
            <a:srgbClr val="F26B43"/>
          </p15:clr>
        </p15:guide>
        <p15:guide id="3" pos="288">
          <p15:clr>
            <a:srgbClr val="5ACBF0"/>
          </p15:clr>
        </p15:guide>
        <p15:guide id="4" pos="7392">
          <p15:clr>
            <a:srgbClr val="5ACBF0"/>
          </p15:clr>
        </p15:guide>
        <p15:guide id="5" orient="horz" pos="576">
          <p15:clr>
            <a:srgbClr val="5ACBF0"/>
          </p15:clr>
        </p15:guide>
        <p15:guide id="6" orient="horz" pos="3744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Herospac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9" y="5940000"/>
            <a:ext cx="12240008" cy="918000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4276" y="6210982"/>
            <a:ext cx="38576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CDFD8C83-81C1-4276-B7A6-9AAEA0DC8ADB}" type="slidenum">
              <a:rPr lang="nl-NL" smtClean="0">
                <a:solidFill>
                  <a:srgbClr val="CC9933"/>
                </a:solidFill>
              </a:rPr>
              <a:pPr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6975" y="6210983"/>
            <a:ext cx="2452688" cy="365125"/>
          </a:xfrm>
          <a:prstGeom prst="rect">
            <a:avLst/>
          </a:prstGeom>
          <a:blipFill rotWithShape="1">
            <a:blip r:embed="rId12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C3089839-FAAF-4102-A6E2-E5E16F9289FD}" type="datetime1">
              <a:rPr lang="nl-NL" smtClean="0">
                <a:solidFill>
                  <a:srgbClr val="CC9933"/>
                </a:solidFill>
              </a:rPr>
              <a:pPr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1114" y="6210983"/>
            <a:ext cx="2459037" cy="365125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3926" y="1376363"/>
            <a:ext cx="10345737" cy="4552724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026" name="Title Placeholder"/>
          <p:cNvSpPr>
            <a:spLocks noGrp="1"/>
          </p:cNvSpPr>
          <p:nvPr>
            <p:ph type="title"/>
          </p:nvPr>
        </p:nvSpPr>
        <p:spPr bwMode="auto">
          <a:xfrm>
            <a:off x="923925" y="0"/>
            <a:ext cx="10345739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269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  <p:sldLayoutId id="2147484278" r:id="rId4"/>
    <p:sldLayoutId id="2147484279" r:id="rId5"/>
    <p:sldLayoutId id="2147484280" r:id="rId6"/>
    <p:sldLayoutId id="2147484281" r:id="rId7"/>
    <p:sldLayoutId id="2147484282" r:id="rId8"/>
    <p:sldLayoutId id="2147484283" r:id="rId9"/>
  </p:sldLayoutIdLst>
  <p:hf hdr="0" ftr="0"/>
  <p:txStyles>
    <p:titleStyle>
      <a:lvl1pPr algn="l" defTabSz="2571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257175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514350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771525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1028700" algn="l" defTabSz="257175" rtl="0" eaLnBrk="1" fontAlgn="base" hangingPunct="1">
        <a:spcBef>
          <a:spcPct val="0"/>
        </a:spcBef>
        <a:spcAft>
          <a:spcPct val="0"/>
        </a:spcAft>
        <a:defRPr sz="2475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192881" indent="-192881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8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417910" indent="-160735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5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642938" indent="-128588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35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900113" indent="-128588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2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1157288" indent="-128588" algn="l" defTabSz="257175" rtl="0" eaLnBrk="1" fontAlgn="base" hangingPunct="1">
        <a:spcBef>
          <a:spcPts val="6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2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6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033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1" r:id="rId1"/>
  </p:sldLayoutIdLst>
  <p:txStyles>
    <p:titleStyle>
      <a:lvl1pPr algn="l" defTabSz="3429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257175" indent="-257175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4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557213" indent="-214313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0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8572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8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12001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15430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7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Herospac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9" y="5940000"/>
            <a:ext cx="12240008" cy="918000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4277" y="6210986"/>
            <a:ext cx="38576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>
              <a:defRPr sz="675">
                <a:solidFill>
                  <a:schemeClr val="accent1"/>
                </a:solidFill>
              </a:defRPr>
            </a:lvl1pPr>
          </a:lstStyle>
          <a:p>
            <a:pPr defTabSz="514350"/>
            <a:fld id="{CDFD8C83-81C1-4276-B7A6-9AAEA0DC8ADB}" type="slidenum">
              <a:rPr lang="nl-NL" smtClean="0">
                <a:solidFill>
                  <a:srgbClr val="CC9933"/>
                </a:solidFill>
              </a:rPr>
              <a:pPr defTabSz="514350"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6975" y="6210987"/>
            <a:ext cx="2452688" cy="365125"/>
          </a:xfrm>
          <a:prstGeom prst="rect">
            <a:avLst/>
          </a:prstGeom>
          <a:blipFill rotWithShape="1">
            <a:blip r:embed="rId14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accent1"/>
                </a:solidFill>
              </a:defRPr>
            </a:lvl1pPr>
          </a:lstStyle>
          <a:p>
            <a:pPr defTabSz="514350"/>
            <a:fld id="{C3089839-FAAF-4102-A6E2-E5E16F9289FD}" type="datetime1">
              <a:rPr lang="nl-NL" smtClean="0">
                <a:solidFill>
                  <a:srgbClr val="CC9933"/>
                </a:solidFill>
              </a:rPr>
              <a:pPr defTabSz="514350"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1116" y="6210987"/>
            <a:ext cx="2459037" cy="365125"/>
          </a:xfrm>
          <a:prstGeom prst="rect">
            <a:avLst/>
          </a:prstGeom>
          <a:blipFill rotWithShape="1">
            <a:blip r:embed="rId15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>
              <a:defRPr sz="675">
                <a:solidFill>
                  <a:schemeClr val="accent1"/>
                </a:solidFill>
              </a:defRPr>
            </a:lvl1pPr>
          </a:lstStyle>
          <a:p>
            <a:pPr defTabSz="514350"/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3929" y="1376363"/>
            <a:ext cx="10345737" cy="4552724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026" name="Title Placeholder"/>
          <p:cNvSpPr>
            <a:spLocks noGrp="1"/>
          </p:cNvSpPr>
          <p:nvPr>
            <p:ph type="title"/>
          </p:nvPr>
        </p:nvSpPr>
        <p:spPr bwMode="auto">
          <a:xfrm>
            <a:off x="923925" y="0"/>
            <a:ext cx="10345739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424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</p:sldLayoutIdLst>
  <p:hf hdr="0" ftr="0"/>
  <p:txStyles>
    <p:titleStyle>
      <a:lvl1pPr algn="l" defTabSz="19288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192881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385763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578644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771525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144661" indent="-14466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35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313433" indent="-12055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125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482204" indent="-9644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013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675085" indent="-9644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867966" indent="-9644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060847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6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Herospac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9" y="5940000"/>
            <a:ext cx="12240008" cy="918000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4277" y="6210984"/>
            <a:ext cx="38576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>
              <a:defRPr sz="675">
                <a:solidFill>
                  <a:schemeClr val="accent1"/>
                </a:solidFill>
              </a:defRPr>
            </a:lvl1pPr>
          </a:lstStyle>
          <a:p>
            <a:pPr defTabSz="514350"/>
            <a:fld id="{CDFD8C83-81C1-4276-B7A6-9AAEA0DC8ADB}" type="slidenum">
              <a:rPr lang="nl-NL" smtClean="0">
                <a:solidFill>
                  <a:srgbClr val="CC9933"/>
                </a:solidFill>
              </a:rPr>
              <a:pPr defTabSz="514350"/>
              <a:t>‹nr.›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6975" y="6210985"/>
            <a:ext cx="2452688" cy="365125"/>
          </a:xfrm>
          <a:prstGeom prst="rect">
            <a:avLst/>
          </a:prstGeom>
          <a:blipFill rotWithShape="1">
            <a:blip r:embed="rId12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accent1"/>
                </a:solidFill>
              </a:defRPr>
            </a:lvl1pPr>
          </a:lstStyle>
          <a:p>
            <a:pPr defTabSz="514350"/>
            <a:fld id="{C3089839-FAAF-4102-A6E2-E5E16F9289FD}" type="datetime1">
              <a:rPr lang="nl-NL" smtClean="0">
                <a:solidFill>
                  <a:srgbClr val="CC9933"/>
                </a:solidFill>
              </a:rPr>
              <a:pPr defTabSz="514350"/>
              <a:t>27-6-2022</a:t>
            </a:fld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1115" y="6210985"/>
            <a:ext cx="2459037" cy="365125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>
              <a:defRPr sz="675">
                <a:solidFill>
                  <a:schemeClr val="accent1"/>
                </a:solidFill>
              </a:defRPr>
            </a:lvl1pPr>
          </a:lstStyle>
          <a:p>
            <a:pPr defTabSz="514350"/>
            <a:endParaRPr lang="nl-NL" dirty="0">
              <a:solidFill>
                <a:srgbClr val="CC9933"/>
              </a:solidFill>
            </a:endParaRPr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3928" y="1376363"/>
            <a:ext cx="10345737" cy="4552724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026" name="Title Placeholder"/>
          <p:cNvSpPr>
            <a:spLocks noGrp="1"/>
          </p:cNvSpPr>
          <p:nvPr>
            <p:ph type="title"/>
          </p:nvPr>
        </p:nvSpPr>
        <p:spPr bwMode="auto">
          <a:xfrm>
            <a:off x="923925" y="0"/>
            <a:ext cx="10345739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156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8" r:id="rId1"/>
    <p:sldLayoutId id="2147484349" r:id="rId2"/>
    <p:sldLayoutId id="2147484350" r:id="rId3"/>
    <p:sldLayoutId id="2147484351" r:id="rId4"/>
    <p:sldLayoutId id="2147484352" r:id="rId5"/>
    <p:sldLayoutId id="2147484353" r:id="rId6"/>
    <p:sldLayoutId id="2147484354" r:id="rId7"/>
    <p:sldLayoutId id="2147484355" r:id="rId8"/>
    <p:sldLayoutId id="2147484356" r:id="rId9"/>
  </p:sldLayoutIdLst>
  <p:hf hdr="0" ftr="0"/>
  <p:txStyles>
    <p:titleStyle>
      <a:lvl1pPr algn="l" defTabSz="19288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192881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385763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578644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771525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144661" indent="-14466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35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313433" indent="-12055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125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482204" indent="-9644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013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675085" indent="-9644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867966" indent="-96441" algn="l" defTabSz="192881" rtl="0" eaLnBrk="1" fontAlgn="base" hangingPunct="1">
        <a:spcBef>
          <a:spcPts val="45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060847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6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Herospac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7" y="5940426"/>
            <a:ext cx="12240684" cy="91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5334" y="6210301"/>
            <a:ext cx="38523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 defTabSz="514350" eaLnBrk="1" fontAlgn="auto" hangingPunct="1">
              <a:spcBef>
                <a:spcPts val="0"/>
              </a:spcBef>
              <a:spcAft>
                <a:spcPts val="0"/>
              </a:spcAft>
              <a:defRPr sz="675" smtClean="0">
                <a:solidFill>
                  <a:srgbClr val="CC9933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1B710885-BC71-4305-9695-C539530509FE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5917" y="6210301"/>
            <a:ext cx="2453216" cy="365125"/>
          </a:xfrm>
          <a:prstGeom prst="rect">
            <a:avLst/>
          </a:prstGeom>
          <a:blipFill rotWithShape="1">
            <a:blip r:embed="rId12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 defTabSz="514350" eaLnBrk="1" fontAlgn="auto" hangingPunct="1">
              <a:spcBef>
                <a:spcPts val="0"/>
              </a:spcBef>
              <a:spcAft>
                <a:spcPts val="0"/>
              </a:spcAft>
              <a:defRPr sz="675" smtClean="0">
                <a:solidFill>
                  <a:srgbClr val="CC9933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2E9A85C2-3BC9-4681-A371-4E6577C67A31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0585" y="6210301"/>
            <a:ext cx="2459567" cy="365125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 defTabSz="514350" eaLnBrk="1" fontAlgn="auto" hangingPunct="1">
              <a:spcBef>
                <a:spcPts val="0"/>
              </a:spcBef>
              <a:spcAft>
                <a:spcPts val="0"/>
              </a:spcAft>
              <a:defRPr sz="675" dirty="0">
                <a:solidFill>
                  <a:srgbClr val="CC9933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4984" y="1376363"/>
            <a:ext cx="10344149" cy="4552950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151" name="Title Placeholder"/>
          <p:cNvSpPr>
            <a:spLocks noGrp="1"/>
          </p:cNvSpPr>
          <p:nvPr>
            <p:ph type="title"/>
          </p:nvPr>
        </p:nvSpPr>
        <p:spPr bwMode="auto">
          <a:xfrm>
            <a:off x="924984" y="0"/>
            <a:ext cx="10344149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1050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</p:sldLayoutIdLst>
  <p:hf hdr="0" ftr="0"/>
  <p:txStyles>
    <p:titleStyle>
      <a:lvl1pPr algn="l" defTabSz="192088" rtl="0" fontAlgn="base">
        <a:lnSpc>
          <a:spcPct val="90000"/>
        </a:lnSpc>
        <a:spcBef>
          <a:spcPct val="0"/>
        </a:spcBef>
        <a:spcAft>
          <a:spcPct val="0"/>
        </a:spcAft>
        <a:defRPr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192088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2pPr>
      <a:lvl3pPr algn="l" defTabSz="192088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3pPr>
      <a:lvl4pPr algn="l" defTabSz="192088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4pPr>
      <a:lvl5pPr algn="l" defTabSz="192088" rtl="0" fontAlgn="base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5pPr>
      <a:lvl6pPr marL="192881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385763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578644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771525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144463" indent="-144463" algn="l" defTabSz="192088" rtl="0" fontAlgn="base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3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312738" indent="-119063" algn="l" defTabSz="192088" rtl="0" fontAlgn="base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481013" indent="-95250" algn="l" defTabSz="192088" rtl="0" fontAlgn="base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674688" indent="-95250" algn="l" defTabSz="192088" rtl="0" fontAlgn="base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866775" indent="-95250" algn="l" defTabSz="192088" rtl="0" fontAlgn="base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060847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Herospac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8" y="5940000"/>
            <a:ext cx="12240008" cy="918000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4275" y="6210980"/>
            <a:ext cx="38576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CDFD8C83-81C1-4276-B7A6-9AAEA0DC8ADB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6975" y="6210981"/>
            <a:ext cx="2452688" cy="365125"/>
          </a:xfrm>
          <a:prstGeom prst="rect">
            <a:avLst/>
          </a:prstGeom>
          <a:blipFill rotWithShape="1">
            <a:blip r:embed="rId14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1113" y="6210981"/>
            <a:ext cx="2459037" cy="365125"/>
          </a:xfrm>
          <a:prstGeom prst="rect">
            <a:avLst/>
          </a:prstGeom>
          <a:blipFill rotWithShape="1">
            <a:blip r:embed="rId15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3925" y="1376363"/>
            <a:ext cx="10345737" cy="4552724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026" name="Title Placeholder"/>
          <p:cNvSpPr>
            <a:spLocks noGrp="1"/>
          </p:cNvSpPr>
          <p:nvPr>
            <p:ph type="title"/>
          </p:nvPr>
        </p:nvSpPr>
        <p:spPr bwMode="auto">
          <a:xfrm>
            <a:off x="923925" y="0"/>
            <a:ext cx="10345739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11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8" r:id="rId1"/>
    <p:sldLayoutId id="2147484729" r:id="rId2"/>
    <p:sldLayoutId id="2147484730" r:id="rId3"/>
    <p:sldLayoutId id="2147484731" r:id="rId4"/>
    <p:sldLayoutId id="2147484732" r:id="rId5"/>
    <p:sldLayoutId id="2147484733" r:id="rId6"/>
    <p:sldLayoutId id="2147484734" r:id="rId7"/>
    <p:sldLayoutId id="2147484735" r:id="rId8"/>
    <p:sldLayoutId id="2147484736" r:id="rId9"/>
    <p:sldLayoutId id="2147484737" r:id="rId10"/>
    <p:sldLayoutId id="2147484738" r:id="rId11"/>
  </p:sldLayoutIdLst>
  <p:hf sldNum="0" hdr="0" ftr="0" dt="0"/>
  <p:txStyles>
    <p:titleStyle>
      <a:lvl1pPr algn="l" defTabSz="3429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257175" indent="-257175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4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557213" indent="-214313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0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8572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8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12001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15430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6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Herospac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17" y="5940426"/>
            <a:ext cx="12240684" cy="91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45334" y="6210301"/>
            <a:ext cx="385233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 defTabSz="514350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rgbClr val="CC9933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44EC4BB5-5E48-45FE-B9FF-7F0128F458BE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15917" y="6210301"/>
            <a:ext cx="2453216" cy="365125"/>
          </a:xfrm>
          <a:prstGeom prst="rect">
            <a:avLst/>
          </a:prstGeom>
          <a:blipFill rotWithShape="1">
            <a:blip r:embed="rId12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 defTabSz="514350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rgbClr val="CC9933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050681B2-98CA-4F58-ADDC-AB4F72FDC71D}" type="datetime1">
              <a:rPr lang="nl-NL"/>
              <a:pPr>
                <a:defRPr/>
              </a:pPr>
              <a:t>27-6-2022</a:t>
            </a:fld>
            <a:endParaRPr lang="nl-NL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0585" y="6210301"/>
            <a:ext cx="2459567" cy="365125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 defTabSz="514350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rgbClr val="CC9933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2054" name="Text Placeholder"/>
          <p:cNvSpPr>
            <a:spLocks noGrp="1"/>
          </p:cNvSpPr>
          <p:nvPr>
            <p:ph type="body" idx="1"/>
          </p:nvPr>
        </p:nvSpPr>
        <p:spPr bwMode="auto">
          <a:xfrm>
            <a:off x="924984" y="1376363"/>
            <a:ext cx="10344149" cy="455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nl-NL" altLang="en-US"/>
          </a:p>
        </p:txBody>
      </p:sp>
      <p:sp>
        <p:nvSpPr>
          <p:cNvPr id="2055" name="Title Placeholder"/>
          <p:cNvSpPr>
            <a:spLocks noGrp="1"/>
          </p:cNvSpPr>
          <p:nvPr>
            <p:ph type="title"/>
          </p:nvPr>
        </p:nvSpPr>
        <p:spPr bwMode="auto">
          <a:xfrm>
            <a:off x="924984" y="0"/>
            <a:ext cx="10344149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9509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9" r:id="rId1"/>
    <p:sldLayoutId id="2147484790" r:id="rId2"/>
    <p:sldLayoutId id="2147484791" r:id="rId3"/>
    <p:sldLayoutId id="2147484792" r:id="rId4"/>
    <p:sldLayoutId id="2147484793" r:id="rId5"/>
    <p:sldLayoutId id="2147484794" r:id="rId6"/>
    <p:sldLayoutId id="2147484795" r:id="rId7"/>
    <p:sldLayoutId id="2147484796" r:id="rId8"/>
    <p:sldLayoutId id="2147484797" r:id="rId9"/>
  </p:sldLayoutIdLst>
  <p:hf hdr="0" ftr="0"/>
  <p:txStyles>
    <p:titleStyle>
      <a:lvl1pPr algn="l" defTabSz="192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192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2pPr>
      <a:lvl3pPr algn="l" defTabSz="192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3pPr>
      <a:lvl4pPr algn="l" defTabSz="192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4pPr>
      <a:lvl5pPr algn="l" defTabSz="19208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ヒラギノ角ゴ Pro W3" pitchFamily="-109" charset="-128"/>
          <a:cs typeface="Arial" panose="020B0604020202020204" pitchFamily="34" charset="0"/>
        </a:defRPr>
      </a:lvl5pPr>
      <a:lvl6pPr marL="192881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385763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578644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771525" algn="l" defTabSz="192881" rtl="0" eaLnBrk="1" fontAlgn="base" hangingPunct="1">
        <a:spcBef>
          <a:spcPct val="0"/>
        </a:spcBef>
        <a:spcAft>
          <a:spcPct val="0"/>
        </a:spcAft>
        <a:defRPr sz="1856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144463" indent="-144463" algn="l" defTabSz="192088" rtl="0" eaLnBrk="0" fontAlgn="base" hangingPunct="0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3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312738" indent="-119063" algn="l" defTabSz="192088" rtl="0" eaLnBrk="0" fontAlgn="base" hangingPunct="0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481013" indent="-95250" algn="l" defTabSz="192088" rtl="0" eaLnBrk="0" fontAlgn="base" hangingPunct="0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0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674688" indent="-95250" algn="l" defTabSz="192088" rtl="0" eaLnBrk="0" fontAlgn="base" hangingPunct="0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866775" indent="-95250" algn="l" defTabSz="192088" rtl="0" eaLnBrk="0" fontAlgn="base" hangingPunct="0">
        <a:spcBef>
          <a:spcPts val="45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9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060847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6pPr>
      <a:lvl7pPr marL="1253729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7pPr>
      <a:lvl8pPr marL="1446610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8pPr>
      <a:lvl9pPr marL="1639491" indent="-96441" algn="l" defTabSz="192881" rtl="0" eaLnBrk="1" latinLnBrk="0" hangingPunct="1">
        <a:spcBef>
          <a:spcPct val="20000"/>
        </a:spcBef>
        <a:buFont typeface="Arial"/>
        <a:buChar char="•"/>
        <a:defRPr sz="84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192881" rtl="0" eaLnBrk="1" latinLnBrk="0" hangingPunct="1">
        <a:defRPr sz="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8B764B-5422-408E-9D04-54B83D1862AB}" type="datetimeFigureOut">
              <a:rPr lang="en-US" smtClean="0"/>
              <a:t>6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813BF9-5145-4417-B95D-FA862797388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50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9" r:id="rId1"/>
    <p:sldLayoutId id="2147484801" r:id="rId2"/>
    <p:sldLayoutId id="2147484802" r:id="rId3"/>
    <p:sldLayoutId id="2147484803" r:id="rId4"/>
    <p:sldLayoutId id="2147484804" r:id="rId5"/>
    <p:sldLayoutId id="2147484805" r:id="rId6"/>
    <p:sldLayoutId id="2147484806" r:id="rId7"/>
    <p:sldLayoutId id="2147484807" r:id="rId8"/>
    <p:sldLayoutId id="2147484808" r:id="rId9"/>
    <p:sldLayoutId id="2147484809" r:id="rId10"/>
    <p:sldLayoutId id="2147484810" r:id="rId11"/>
    <p:sldLayoutId id="2147484811" r:id="rId12"/>
    <p:sldLayoutId id="2147484812" r:id="rId13"/>
    <p:sldLayoutId id="2147484813" r:id="rId14"/>
    <p:sldLayoutId id="214748481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4.png"/><Relationship Id="rId5" Type="http://schemas.openxmlformats.org/officeDocument/2006/relationships/image" Target="../media/image13.emf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onetonline.org/find/descriptor/result/2.B.1.b" TargetMode="External"/><Relationship Id="rId18" Type="http://schemas.openxmlformats.org/officeDocument/2006/relationships/hyperlink" Target="https://www.onetonline.org/find/descriptor/result/2.B.1.a" TargetMode="External"/><Relationship Id="rId26" Type="http://schemas.openxmlformats.org/officeDocument/2006/relationships/hyperlink" Target="https://www.onetonline.org/find/descriptor/result/1.C.5.a" TargetMode="External"/><Relationship Id="rId21" Type="http://schemas.openxmlformats.org/officeDocument/2006/relationships/hyperlink" Target="https://www.onetonline.org/find/descriptor/result/1.C.4.c" TargetMode="External"/><Relationship Id="rId34" Type="http://schemas.openxmlformats.org/officeDocument/2006/relationships/hyperlink" Target="https://www.onetonline.org/find/descriptor/result/1.C.3.c" TargetMode="External"/><Relationship Id="rId7" Type="http://schemas.openxmlformats.org/officeDocument/2006/relationships/hyperlink" Target="https://www.onetonline.org/find/descriptor/result/2.A.1.e" TargetMode="External"/><Relationship Id="rId12" Type="http://schemas.openxmlformats.org/officeDocument/2006/relationships/hyperlink" Target="https://www.onetonline.org/find/descriptor/result/2.A.1.c" TargetMode="External"/><Relationship Id="rId17" Type="http://schemas.openxmlformats.org/officeDocument/2006/relationships/hyperlink" Target="https://www.onetonline.org/find/descriptor/result/2.B.1.f" TargetMode="External"/><Relationship Id="rId25" Type="http://schemas.openxmlformats.org/officeDocument/2006/relationships/hyperlink" Target="https://www.onetonline.org/find/descriptor/result/1.C.3.a" TargetMode="External"/><Relationship Id="rId33" Type="http://schemas.openxmlformats.org/officeDocument/2006/relationships/hyperlink" Target="https://www.onetonline.org/find/descriptor/result/1.C.4.a" TargetMode="External"/><Relationship Id="rId2" Type="http://schemas.openxmlformats.org/officeDocument/2006/relationships/image" Target="../media/image30.png"/><Relationship Id="rId16" Type="http://schemas.openxmlformats.org/officeDocument/2006/relationships/hyperlink" Target="https://www.onetonline.org/find/descriptor/result/2.B.1.c" TargetMode="External"/><Relationship Id="rId20" Type="http://schemas.openxmlformats.org/officeDocument/2006/relationships/hyperlink" Target="https://www.onetonline.org/find/descriptor/result/1.C.1.a" TargetMode="External"/><Relationship Id="rId29" Type="http://schemas.openxmlformats.org/officeDocument/2006/relationships/hyperlink" Target="https://www.onetonline.org/find/descriptor/result/1.C.7.a" TargetMode="External"/><Relationship Id="rId1" Type="http://schemas.openxmlformats.org/officeDocument/2006/relationships/slideLayout" Target="../slideLayouts/slideLayout72.xml"/><Relationship Id="rId6" Type="http://schemas.openxmlformats.org/officeDocument/2006/relationships/hyperlink" Target="https://www.onetonline.org/find/descriptor/result/2.A.2.c" TargetMode="External"/><Relationship Id="rId11" Type="http://schemas.openxmlformats.org/officeDocument/2006/relationships/hyperlink" Target="https://www.onetonline.org/find/descriptor/result/2.A.1.d" TargetMode="External"/><Relationship Id="rId24" Type="http://schemas.openxmlformats.org/officeDocument/2006/relationships/hyperlink" Target="https://www.onetonline.org/find/descriptor/result/1.C.3.b" TargetMode="External"/><Relationship Id="rId32" Type="http://schemas.openxmlformats.org/officeDocument/2006/relationships/hyperlink" Target="https://www.onetonline.org/find/descriptor/result/1.C.1.b" TargetMode="External"/><Relationship Id="rId37" Type="http://schemas.openxmlformats.org/officeDocument/2006/relationships/image" Target="../media/image16.png"/><Relationship Id="rId5" Type="http://schemas.openxmlformats.org/officeDocument/2006/relationships/hyperlink" Target="https://www.onetonline.org/find/descriptor/result/2.A.2.a" TargetMode="External"/><Relationship Id="rId15" Type="http://schemas.openxmlformats.org/officeDocument/2006/relationships/hyperlink" Target="https://www.onetonline.org/find/descriptor/result/2.B.1.d" TargetMode="External"/><Relationship Id="rId23" Type="http://schemas.openxmlformats.org/officeDocument/2006/relationships/hyperlink" Target="https://www.onetonline.org/find/descriptor/result/1.C.5.b" TargetMode="External"/><Relationship Id="rId28" Type="http://schemas.openxmlformats.org/officeDocument/2006/relationships/hyperlink" Target="https://www.onetonline.org/find/descriptor/result/1.C.1.c" TargetMode="External"/><Relationship Id="rId36" Type="http://schemas.openxmlformats.org/officeDocument/2006/relationships/image" Target="../media/image31.jpeg"/><Relationship Id="rId10" Type="http://schemas.openxmlformats.org/officeDocument/2006/relationships/hyperlink" Target="https://www.onetonline.org/find/descriptor/result/2.A.1.f" TargetMode="External"/><Relationship Id="rId19" Type="http://schemas.openxmlformats.org/officeDocument/2006/relationships/hyperlink" Target="https://www.onetonline.org/find/descriptor/result/2.B.2.i" TargetMode="External"/><Relationship Id="rId31" Type="http://schemas.openxmlformats.org/officeDocument/2006/relationships/hyperlink" Target="https://www.onetonline.org/find/descriptor/result/1.C.2.b" TargetMode="External"/><Relationship Id="rId4" Type="http://schemas.openxmlformats.org/officeDocument/2006/relationships/hyperlink" Target="https://www.onetonline.org/find/descriptor/result/2.A.1.b" TargetMode="External"/><Relationship Id="rId9" Type="http://schemas.openxmlformats.org/officeDocument/2006/relationships/hyperlink" Target="https://www.onetonline.org/find/descriptor/result/2.A.1.a" TargetMode="External"/><Relationship Id="rId14" Type="http://schemas.openxmlformats.org/officeDocument/2006/relationships/hyperlink" Target="https://www.onetonline.org/find/descriptor/result/2.B.1.e" TargetMode="External"/><Relationship Id="rId22" Type="http://schemas.openxmlformats.org/officeDocument/2006/relationships/hyperlink" Target="https://www.onetonline.org/find/descriptor/result/1.C.7.b" TargetMode="External"/><Relationship Id="rId27" Type="http://schemas.openxmlformats.org/officeDocument/2006/relationships/hyperlink" Target="https://www.onetonline.org/find/descriptor/result/1.C.6" TargetMode="External"/><Relationship Id="rId30" Type="http://schemas.openxmlformats.org/officeDocument/2006/relationships/hyperlink" Target="https://www.onetonline.org/find/descriptor/result/1.C.5.c" TargetMode="External"/><Relationship Id="rId35" Type="http://schemas.openxmlformats.org/officeDocument/2006/relationships/hyperlink" Target="https://www.onetonline.org/find/descriptor/result/1.C.4.b" TargetMode="External"/><Relationship Id="rId8" Type="http://schemas.openxmlformats.org/officeDocument/2006/relationships/hyperlink" Target="https://www.onetonline.org/find/descriptor/result/2.A.2.d" TargetMode="External"/><Relationship Id="rId3" Type="http://schemas.openxmlformats.org/officeDocument/2006/relationships/hyperlink" Target="https://www.onetonline.org/find/descriptor/result/2.A.2.b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32.png"/><Relationship Id="rId7" Type="http://schemas.openxmlformats.org/officeDocument/2006/relationships/diagramLayout" Target="../diagrams/layout3.xml"/><Relationship Id="rId12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2.xml"/><Relationship Id="rId6" Type="http://schemas.openxmlformats.org/officeDocument/2006/relationships/diagramData" Target="../diagrams/data3.xml"/><Relationship Id="rId11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microsoft.com/office/2007/relationships/diagramDrawing" Target="../diagrams/drawing3.xml"/><Relationship Id="rId4" Type="http://schemas.openxmlformats.org/officeDocument/2006/relationships/image" Target="../media/image33.png"/><Relationship Id="rId9" Type="http://schemas.openxmlformats.org/officeDocument/2006/relationships/diagramColors" Target="../diagrams/colors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2.xml"/><Relationship Id="rId5" Type="http://schemas.openxmlformats.org/officeDocument/2006/relationships/image" Target="../media/image16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83.xml"/><Relationship Id="rId7" Type="http://schemas.openxmlformats.org/officeDocument/2006/relationships/image" Target="../media/image12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6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6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24FB7A-3E9E-8B42-A18D-113589BD991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6" name="promo UIA" descr="promo UIA">
            <a:hlinkClick r:id="" action="ppaction://media"/>
            <a:extLst>
              <a:ext uri="{FF2B5EF4-FFF2-40B4-BE49-F238E27FC236}">
                <a16:creationId xmlns:a16="http://schemas.microsoft.com/office/drawing/2014/main" id="{D7B610C3-7AC2-4A4B-B7D0-487426CCD2E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6254" y="-11360"/>
            <a:ext cx="12198254" cy="6869360"/>
          </a:xfrm>
          <a:prstGeom prst="rect">
            <a:avLst/>
          </a:prstGeom>
        </p:spPr>
      </p:pic>
      <p:pic>
        <p:nvPicPr>
          <p:cNvPr id="9" name="Afbeelding 4">
            <a:extLst>
              <a:ext uri="{FF2B5EF4-FFF2-40B4-BE49-F238E27FC236}">
                <a16:creationId xmlns:a16="http://schemas.microsoft.com/office/drawing/2014/main" id="{02241C52-5405-974E-93D6-C7AC14C93FD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470" y="224126"/>
            <a:ext cx="3439626" cy="1831514"/>
          </a:xfrm>
          <a:prstGeom prst="rect">
            <a:avLst/>
          </a:prstGeom>
        </p:spPr>
      </p:pic>
      <p:pic>
        <p:nvPicPr>
          <p:cNvPr id="10" name="Afbeelding 7">
            <a:extLst>
              <a:ext uri="{FF2B5EF4-FFF2-40B4-BE49-F238E27FC236}">
                <a16:creationId xmlns:a16="http://schemas.microsoft.com/office/drawing/2014/main" id="{5B3D5E2D-8AE7-F042-B1C0-65CBA937125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7581" y="5681571"/>
            <a:ext cx="4164419" cy="11877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457644-6B13-B448-9C07-2FA24B9ACEB6}"/>
              </a:ext>
            </a:extLst>
          </p:cNvPr>
          <p:cNvSpPr txBox="1"/>
          <p:nvPr/>
        </p:nvSpPr>
        <p:spPr>
          <a:xfrm>
            <a:off x="392752" y="5710544"/>
            <a:ext cx="5290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Passport </a:t>
            </a: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for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 </a:t>
            </a: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Work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Cambria" panose="02040503050406030204" pitchFamily="18" charset="0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>
                <a:solidFill>
                  <a:prstClr val="white"/>
                </a:solidFill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27 </a:t>
            </a:r>
            <a:r>
              <a:rPr lang="nl-NL" dirty="0" err="1">
                <a:solidFill>
                  <a:prstClr val="white"/>
                </a:solidFill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June</a:t>
            </a:r>
            <a:r>
              <a:rPr lang="nl-NL" dirty="0">
                <a:solidFill>
                  <a:prstClr val="white"/>
                </a:solidFill>
                <a:latin typeface="Montserrat" panose="00000500000000000000" pitchFamily="2" charset="0"/>
                <a:ea typeface="Cambria" panose="02040503050406030204" pitchFamily="18" charset="0"/>
                <a:cs typeface="Aharoni" panose="02010803020104030203" pitchFamily="2" charset="-79"/>
              </a:rPr>
              <a:t> 2022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anose="00000500000000000000" pitchFamily="2" charset="0"/>
              <a:ea typeface="Cambria" panose="02040503050406030204" pitchFamily="18" charset="0"/>
              <a:cs typeface="Aharoni" panose="02010803020104030203" pitchFamily="2" charset="-79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8545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55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8">
            <a:extLst>
              <a:ext uri="{FF2B5EF4-FFF2-40B4-BE49-F238E27FC236}">
                <a16:creationId xmlns:a16="http://schemas.microsoft.com/office/drawing/2014/main" id="{4D6793F6-935A-B13D-BE5D-8892175C85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5053" y="1734848"/>
            <a:ext cx="6526505" cy="3909887"/>
          </a:xfrm>
          <a:prstGeom prst="rect">
            <a:avLst/>
          </a:prstGeom>
        </p:spPr>
      </p:pic>
      <p:graphicFrame>
        <p:nvGraphicFramePr>
          <p:cNvPr id="4" name="Tabel 5">
            <a:extLst>
              <a:ext uri="{FF2B5EF4-FFF2-40B4-BE49-F238E27FC236}">
                <a16:creationId xmlns:a16="http://schemas.microsoft.com/office/drawing/2014/main" id="{BD2E8BE6-3900-1087-F62F-B3A5ACB8877C}"/>
              </a:ext>
            </a:extLst>
          </p:cNvPr>
          <p:cNvGraphicFramePr>
            <a:graphicFrameLocks noGrp="1"/>
          </p:cNvGraphicFramePr>
          <p:nvPr/>
        </p:nvGraphicFramePr>
        <p:xfrm>
          <a:off x="1710954" y="3324809"/>
          <a:ext cx="2877185" cy="18694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2877185">
                  <a:extLst>
                    <a:ext uri="{9D8B030D-6E8A-4147-A177-3AD203B41FA5}">
                      <a16:colId xmlns:a16="http://schemas.microsoft.com/office/drawing/2014/main" val="3959821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hlinkClick r:id="rId3"/>
                        </a:rPr>
                        <a:t>Active Learning</a:t>
                      </a:r>
                      <a:r>
                        <a:rPr lang="en-US" sz="1200" b="0" dirty="0">
                          <a:effectLst/>
                        </a:rPr>
                        <a:t> </a:t>
                      </a:r>
                      <a:endParaRPr lang="nl-NL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829385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hlinkClick r:id="rId4"/>
                        </a:rPr>
                        <a:t>Active Listening</a:t>
                      </a:r>
                      <a:r>
                        <a:rPr lang="en-US" sz="1200" b="0" dirty="0">
                          <a:effectLst/>
                        </a:rPr>
                        <a:t> </a:t>
                      </a:r>
                      <a:endParaRPr lang="nl-NL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73595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>
                          <a:effectLst/>
                          <a:hlinkClick r:id="rId5"/>
                        </a:rPr>
                        <a:t>Critical Thinking</a:t>
                      </a:r>
                      <a:r>
                        <a:rPr lang="en-US" sz="1200" b="0">
                          <a:effectLst/>
                        </a:rPr>
                        <a:t> </a:t>
                      </a:r>
                      <a:endParaRPr lang="nl-NL" sz="11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384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hlinkClick r:id="rId6"/>
                        </a:rPr>
                        <a:t>Learning Strategies</a:t>
                      </a:r>
                      <a:r>
                        <a:rPr lang="en-US" sz="1200" b="0" dirty="0">
                          <a:effectLst/>
                        </a:rPr>
                        <a:t> </a:t>
                      </a:r>
                      <a:endParaRPr lang="nl-NL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7623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hlinkClick r:id="rId7"/>
                        </a:rPr>
                        <a:t>Mathematics</a:t>
                      </a:r>
                      <a:r>
                        <a:rPr lang="en-US" sz="1200" b="0" dirty="0">
                          <a:effectLst/>
                        </a:rPr>
                        <a:t> </a:t>
                      </a:r>
                      <a:endParaRPr lang="nl-NL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07234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>
                          <a:effectLst/>
                          <a:hlinkClick r:id="rId8"/>
                        </a:rPr>
                        <a:t>Monitoring</a:t>
                      </a:r>
                      <a:r>
                        <a:rPr lang="en-US" sz="1200" b="0">
                          <a:effectLst/>
                        </a:rPr>
                        <a:t> </a:t>
                      </a:r>
                      <a:endParaRPr lang="nl-NL" sz="11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5913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>
                          <a:effectLst/>
                          <a:hlinkClick r:id="rId9"/>
                        </a:rPr>
                        <a:t>Reading Comprehension</a:t>
                      </a:r>
                      <a:r>
                        <a:rPr lang="en-US" sz="1200" b="0">
                          <a:effectLst/>
                        </a:rPr>
                        <a:t> </a:t>
                      </a:r>
                      <a:endParaRPr lang="nl-NL" sz="11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087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>
                          <a:effectLst/>
                          <a:hlinkClick r:id="rId10"/>
                        </a:rPr>
                        <a:t>Science</a:t>
                      </a:r>
                      <a:r>
                        <a:rPr lang="en-US" sz="1200" b="0">
                          <a:effectLst/>
                        </a:rPr>
                        <a:t> </a:t>
                      </a:r>
                      <a:endParaRPr lang="nl-NL" sz="11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4635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>
                          <a:effectLst/>
                          <a:hlinkClick r:id="rId11"/>
                        </a:rPr>
                        <a:t>Speaking</a:t>
                      </a:r>
                      <a:r>
                        <a:rPr lang="en-US" sz="1200" b="0">
                          <a:effectLst/>
                        </a:rPr>
                        <a:t> </a:t>
                      </a:r>
                      <a:endParaRPr lang="nl-NL" sz="11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2821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u="sng" dirty="0">
                          <a:effectLst/>
                          <a:hlinkClick r:id="rId12"/>
                        </a:rPr>
                        <a:t>Writing</a:t>
                      </a:r>
                      <a:r>
                        <a:rPr lang="en-US" sz="1200" b="0" dirty="0">
                          <a:effectLst/>
                        </a:rPr>
                        <a:t> </a:t>
                      </a:r>
                      <a:endParaRPr lang="nl-NL" sz="11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6190215"/>
                  </a:ext>
                </a:extLst>
              </a:tr>
            </a:tbl>
          </a:graphicData>
        </a:graphic>
      </p:graphicFrame>
      <p:sp>
        <p:nvSpPr>
          <p:cNvPr id="5" name="Tekstvak 8">
            <a:extLst>
              <a:ext uri="{FF2B5EF4-FFF2-40B4-BE49-F238E27FC236}">
                <a16:creationId xmlns:a16="http://schemas.microsoft.com/office/drawing/2014/main" id="{8B869DDD-754F-B748-3064-9EBEAA9D3762}"/>
              </a:ext>
            </a:extLst>
          </p:cNvPr>
          <p:cNvSpPr txBox="1"/>
          <p:nvPr/>
        </p:nvSpPr>
        <p:spPr>
          <a:xfrm>
            <a:off x="242300" y="4135161"/>
            <a:ext cx="2818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asic Skills</a:t>
            </a:r>
          </a:p>
        </p:txBody>
      </p:sp>
      <p:graphicFrame>
        <p:nvGraphicFramePr>
          <p:cNvPr id="6" name="Tabel 6">
            <a:extLst>
              <a:ext uri="{FF2B5EF4-FFF2-40B4-BE49-F238E27FC236}">
                <a16:creationId xmlns:a16="http://schemas.microsoft.com/office/drawing/2014/main" id="{2B5575E0-2075-0BDC-18A2-E1B4DCEC0705}"/>
              </a:ext>
            </a:extLst>
          </p:cNvPr>
          <p:cNvGraphicFramePr>
            <a:graphicFrameLocks noGrp="1"/>
          </p:cNvGraphicFramePr>
          <p:nvPr/>
        </p:nvGraphicFramePr>
        <p:xfrm>
          <a:off x="1651372" y="5444170"/>
          <a:ext cx="2877185" cy="11216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77185">
                  <a:extLst>
                    <a:ext uri="{9D8B030D-6E8A-4147-A177-3AD203B41FA5}">
                      <a16:colId xmlns:a16="http://schemas.microsoft.com/office/drawing/2014/main" val="352455083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effectLst/>
                          <a:hlinkClick r:id="rId13"/>
                        </a:rPr>
                        <a:t>Coordination</a:t>
                      </a:r>
                      <a:r>
                        <a:rPr lang="en-US" sz="1200" dirty="0">
                          <a:effectLst/>
                        </a:rPr>
                        <a:t> </a:t>
                      </a:r>
                      <a:endParaRPr lang="nl-N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54013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effectLst/>
                          <a:hlinkClick r:id="rId14"/>
                        </a:rPr>
                        <a:t>Instructing</a:t>
                      </a:r>
                      <a:r>
                        <a:rPr lang="en-US" sz="1200">
                          <a:effectLst/>
                        </a:rPr>
                        <a:t> </a:t>
                      </a:r>
                      <a:endParaRPr lang="nl-NL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5211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effectLst/>
                          <a:hlinkClick r:id="rId15"/>
                        </a:rPr>
                        <a:t>Negotiation</a:t>
                      </a:r>
                      <a:r>
                        <a:rPr lang="en-US" sz="1200">
                          <a:effectLst/>
                        </a:rPr>
                        <a:t> </a:t>
                      </a:r>
                      <a:endParaRPr lang="nl-NL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1905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effectLst/>
                          <a:hlinkClick r:id="rId16"/>
                        </a:rPr>
                        <a:t>Persuasion</a:t>
                      </a:r>
                      <a:r>
                        <a:rPr lang="en-US" sz="1200" dirty="0">
                          <a:effectLst/>
                        </a:rPr>
                        <a:t> </a:t>
                      </a:r>
                      <a:endParaRPr lang="nl-N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50290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effectLst/>
                          <a:hlinkClick r:id="rId17"/>
                        </a:rPr>
                        <a:t>Service Orientation</a:t>
                      </a:r>
                      <a:r>
                        <a:rPr lang="en-US" sz="1200">
                          <a:effectLst/>
                        </a:rPr>
                        <a:t> </a:t>
                      </a:r>
                      <a:endParaRPr lang="nl-NL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5529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effectLst/>
                          <a:hlinkClick r:id="rId18"/>
                        </a:rPr>
                        <a:t>Social Perceptiveness</a:t>
                      </a:r>
                      <a:r>
                        <a:rPr lang="en-US" sz="1200" dirty="0">
                          <a:effectLst/>
                        </a:rPr>
                        <a:t> </a:t>
                      </a:r>
                      <a:endParaRPr lang="nl-NL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667912"/>
                  </a:ext>
                </a:extLst>
              </a:tr>
            </a:tbl>
          </a:graphicData>
        </a:graphic>
      </p:graphicFrame>
      <p:sp>
        <p:nvSpPr>
          <p:cNvPr id="7" name="Tekstvak 9">
            <a:extLst>
              <a:ext uri="{FF2B5EF4-FFF2-40B4-BE49-F238E27FC236}">
                <a16:creationId xmlns:a16="http://schemas.microsoft.com/office/drawing/2014/main" id="{7C69B733-830B-4850-4965-918CAE63770F}"/>
              </a:ext>
            </a:extLst>
          </p:cNvPr>
          <p:cNvSpPr txBox="1"/>
          <p:nvPr/>
        </p:nvSpPr>
        <p:spPr>
          <a:xfrm>
            <a:off x="360922" y="5750320"/>
            <a:ext cx="2818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cial Skills</a:t>
            </a:r>
          </a:p>
        </p:txBody>
      </p:sp>
      <p:sp>
        <p:nvSpPr>
          <p:cNvPr id="8" name="Tekstvak 13">
            <a:extLst>
              <a:ext uri="{FF2B5EF4-FFF2-40B4-BE49-F238E27FC236}">
                <a16:creationId xmlns:a16="http://schemas.microsoft.com/office/drawing/2014/main" id="{4C7B6532-B876-3C13-AAAB-C58F19612A59}"/>
              </a:ext>
            </a:extLst>
          </p:cNvPr>
          <p:cNvSpPr txBox="1"/>
          <p:nvPr/>
        </p:nvSpPr>
        <p:spPr>
          <a:xfrm>
            <a:off x="4165942" y="6271255"/>
            <a:ext cx="609426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sng" strike="noStrike" kern="1200" cap="none" spc="0" normalizeH="0" baseline="0" noProof="0" dirty="0">
                <a:ln>
                  <a:noFill/>
                </a:ln>
                <a:solidFill>
                  <a:srgbClr val="2998E3"/>
                </a:solidFill>
                <a:effectLst/>
                <a:uLnTx/>
                <a:uFillTx/>
                <a:latin typeface="Source Sans Pro"/>
                <a:ea typeface="Calibri" panose="020F0502020204030204" pitchFamily="34" charset="0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lex </a:t>
            </a:r>
            <a:r>
              <a:rPr kumimoji="0" lang="nl-NL" sz="1200" b="0" i="0" u="sng" strike="noStrike" kern="1200" cap="none" spc="0" normalizeH="0" baseline="0" noProof="0" dirty="0" err="1">
                <a:ln>
                  <a:noFill/>
                </a:ln>
                <a:solidFill>
                  <a:srgbClr val="2998E3"/>
                </a:solidFill>
                <a:effectLst/>
                <a:uLnTx/>
                <a:uFillTx/>
                <a:latin typeface="Source Sans Pro"/>
                <a:ea typeface="Calibri" panose="020F0502020204030204" pitchFamily="34" charset="0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roblem</a:t>
            </a:r>
            <a:r>
              <a:rPr kumimoji="0" lang="nl-NL" sz="1200" b="0" i="0" u="sng" strike="noStrike" kern="1200" cap="none" spc="0" normalizeH="0" baseline="0" noProof="0" dirty="0">
                <a:ln>
                  <a:noFill/>
                </a:ln>
                <a:solidFill>
                  <a:srgbClr val="2998E3"/>
                </a:solidFill>
                <a:effectLst/>
                <a:uLnTx/>
                <a:uFillTx/>
                <a:latin typeface="Source Sans Pro"/>
                <a:ea typeface="Calibri" panose="020F0502020204030204" pitchFamily="34" charset="0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kumimoji="0" lang="nl-NL" sz="1200" b="0" i="0" u="sng" strike="noStrike" kern="1200" cap="none" spc="0" normalizeH="0" baseline="0" noProof="0" dirty="0" err="1">
                <a:ln>
                  <a:noFill/>
                </a:ln>
                <a:solidFill>
                  <a:srgbClr val="2998E3"/>
                </a:solidFill>
                <a:effectLst/>
                <a:uLnTx/>
                <a:uFillTx/>
                <a:latin typeface="Source Sans Pro"/>
                <a:ea typeface="Calibri" panose="020F0502020204030204" pitchFamily="34" charset="0"/>
                <a:cs typeface="+mn-cs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lving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2998E3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aphicFrame>
        <p:nvGraphicFramePr>
          <p:cNvPr id="9" name="Tabel 17">
            <a:extLst>
              <a:ext uri="{FF2B5EF4-FFF2-40B4-BE49-F238E27FC236}">
                <a16:creationId xmlns:a16="http://schemas.microsoft.com/office/drawing/2014/main" id="{A2F70286-A96C-446F-C47B-0EA9ED18BCBE}"/>
              </a:ext>
            </a:extLst>
          </p:cNvPr>
          <p:cNvGraphicFramePr>
            <a:graphicFrameLocks noGrp="1"/>
          </p:cNvGraphicFramePr>
          <p:nvPr/>
        </p:nvGraphicFramePr>
        <p:xfrm>
          <a:off x="4528557" y="71675"/>
          <a:ext cx="2877185" cy="29911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77185">
                  <a:extLst>
                    <a:ext uri="{9D8B030D-6E8A-4147-A177-3AD203B41FA5}">
                      <a16:colId xmlns:a16="http://schemas.microsoft.com/office/drawing/2014/main" val="12685031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chievement/Effort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57090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daptability/Flexibility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017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solidFill>
                            <a:srgbClr val="0070C0"/>
                          </a:solidFill>
                          <a:effectLst/>
                          <a:hlinkClick r:id="rId2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nalytical Thinking</a:t>
                      </a:r>
                      <a:r>
                        <a:rPr lang="en-US" sz="12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7288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solidFill>
                            <a:srgbClr val="0070C0"/>
                          </a:solidFill>
                          <a:effectLst/>
                          <a:hlinkClick r:id="rId2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Attention to Detail</a:t>
                      </a:r>
                      <a:r>
                        <a:rPr lang="en-US" sz="12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2033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solidFill>
                            <a:srgbClr val="0070C0"/>
                          </a:solidFill>
                          <a:effectLst/>
                          <a:hlinkClick r:id="rId2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ncern for Others</a:t>
                      </a:r>
                      <a:r>
                        <a:rPr lang="en-US" sz="12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68118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operation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267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ependability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3597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dependence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148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itiative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74646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2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novation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657028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solidFill>
                            <a:srgbClr val="0070C0"/>
                          </a:solidFill>
                          <a:effectLst/>
                          <a:hlinkClick r:id="rId3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Integrity</a:t>
                      </a:r>
                      <a:r>
                        <a:rPr lang="en-US" sz="12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95406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3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eadership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07140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3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ersistence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7339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3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lf Control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84188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>
                          <a:solidFill>
                            <a:srgbClr val="0070C0"/>
                          </a:solidFill>
                          <a:effectLst/>
                          <a:hlinkClick r:id="rId3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ocial Orientation</a:t>
                      </a:r>
                      <a:r>
                        <a:rPr lang="en-US" sz="120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1794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u="sng" dirty="0">
                          <a:solidFill>
                            <a:srgbClr val="0070C0"/>
                          </a:solidFill>
                          <a:effectLst/>
                          <a:hlinkClick r:id="rId3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tress Tolerance</a:t>
                      </a:r>
                      <a:r>
                        <a:rPr lang="en-US" sz="1200" dirty="0">
                          <a:solidFill>
                            <a:srgbClr val="0070C0"/>
                          </a:solidFill>
                          <a:effectLst/>
                        </a:rPr>
                        <a:t> </a:t>
                      </a:r>
                      <a:endParaRPr lang="nl-NL" sz="1100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7053511"/>
                  </a:ext>
                </a:extLst>
              </a:tr>
            </a:tbl>
          </a:graphicData>
        </a:graphic>
      </p:graphicFrame>
      <p:sp>
        <p:nvSpPr>
          <p:cNvPr id="10" name="Tekstvak 18">
            <a:extLst>
              <a:ext uri="{FF2B5EF4-FFF2-40B4-BE49-F238E27FC236}">
                <a16:creationId xmlns:a16="http://schemas.microsoft.com/office/drawing/2014/main" id="{03171B42-3622-E750-0AD4-910B3F362EFF}"/>
              </a:ext>
            </a:extLst>
          </p:cNvPr>
          <p:cNvSpPr txBox="1"/>
          <p:nvPr/>
        </p:nvSpPr>
        <p:spPr>
          <a:xfrm>
            <a:off x="3429905" y="1397950"/>
            <a:ext cx="2818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Work Styles</a:t>
            </a:r>
          </a:p>
        </p:txBody>
      </p:sp>
      <p:pic>
        <p:nvPicPr>
          <p:cNvPr id="12" name="Picture 2" descr="Stress in the City - ManSpace Magazine">
            <a:extLst>
              <a:ext uri="{FF2B5EF4-FFF2-40B4-BE49-F238E27FC236}">
                <a16:creationId xmlns:a16="http://schemas.microsoft.com/office/drawing/2014/main" id="{73DBA5AD-9CD8-FE24-F6E7-A30A5C9DC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072900" y="757738"/>
            <a:ext cx="4876800" cy="48291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758D87E2-0170-7860-DCAD-7B304FAAF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6192" y="-104807"/>
            <a:ext cx="10515600" cy="1325563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O*NET </a:t>
            </a:r>
            <a:r>
              <a:rPr lang="en-GB" sz="3200" dirty="0">
                <a:solidFill>
                  <a:schemeClr val="bg2"/>
                </a:solidFill>
              </a:rPr>
              <a:t>Skills</a:t>
            </a:r>
            <a:endParaRPr lang="en-GB" dirty="0">
              <a:solidFill>
                <a:schemeClr val="bg2"/>
              </a:solidFill>
            </a:endParaRPr>
          </a:p>
        </p:txBody>
      </p:sp>
      <p:pic>
        <p:nvPicPr>
          <p:cNvPr id="14" name="Picture 2" descr="Home">
            <a:extLst>
              <a:ext uri="{FF2B5EF4-FFF2-40B4-BE49-F238E27FC236}">
                <a16:creationId xmlns:a16="http://schemas.microsoft.com/office/drawing/2014/main" id="{DE1EE5CE-4817-6B9E-39EC-8F5A4F0A8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0230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96296E-6 L -0.18255 -2.96296E-6 C -0.26432 -2.96296E-6 -0.36471 -0.1044 -0.36471 -0.18819 L -0.36471 -0.37639 " pathEditMode="relative" rAng="0" ptsTypes="AAAA"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242" y="-188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  <p:bldP spid="1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3">
            <a:extLst>
              <a:ext uri="{FF2B5EF4-FFF2-40B4-BE49-F238E27FC236}">
                <a16:creationId xmlns:a16="http://schemas.microsoft.com/office/drawing/2014/main" id="{44CDFEFD-AFA5-7C5A-B1B7-C998BE1D2E7D}"/>
              </a:ext>
            </a:extLst>
          </p:cNvPr>
          <p:cNvGraphicFramePr>
            <a:graphicFrameLocks noGrp="1"/>
          </p:cNvGraphicFramePr>
          <p:nvPr/>
        </p:nvGraphicFramePr>
        <p:xfrm>
          <a:off x="631509" y="853591"/>
          <a:ext cx="3035808" cy="59127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35808">
                  <a:extLst>
                    <a:ext uri="{9D8B030D-6E8A-4147-A177-3AD203B41FA5}">
                      <a16:colId xmlns:a16="http://schemas.microsoft.com/office/drawing/2014/main" val="3181571819"/>
                    </a:ext>
                  </a:extLst>
                </a:gridCol>
              </a:tblGrid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Negotiation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135092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Persuasion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6121834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Social</a:t>
                      </a:r>
                      <a:r>
                        <a:rPr lang="nl-NL" sz="1050" u="none" strike="noStrike" dirty="0">
                          <a:effectLst/>
                        </a:rPr>
                        <a:t> </a:t>
                      </a:r>
                      <a:r>
                        <a:rPr lang="nl-NL" sz="1050" u="none" strike="noStrike" dirty="0" err="1">
                          <a:effectLst/>
                        </a:rPr>
                        <a:t>orientation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044029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Speaking</a:t>
                      </a:r>
                      <a:endParaRPr lang="nl-NL" sz="105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1457875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Initiative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3621923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Leadership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5066869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Achievement/effort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9916838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Adaptability</a:t>
                      </a:r>
                      <a:r>
                        <a:rPr lang="nl-NL" sz="1050" u="none" strike="noStrike" dirty="0">
                          <a:effectLst/>
                        </a:rPr>
                        <a:t>/flexibility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0989813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Self control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2439086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Stress </a:t>
                      </a:r>
                      <a:r>
                        <a:rPr lang="nl-NL" sz="1050" u="none" strike="noStrike" dirty="0" err="1">
                          <a:effectLst/>
                        </a:rPr>
                        <a:t>tolerance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053989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Concern for others</a:t>
                      </a:r>
                      <a:endParaRPr lang="nl-NL" sz="105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6709327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Cooperation</a:t>
                      </a:r>
                      <a:endParaRPr lang="nl-NL" sz="105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3077270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Social</a:t>
                      </a:r>
                      <a:r>
                        <a:rPr lang="nl-NL" sz="1050" u="none" strike="noStrike" dirty="0">
                          <a:effectLst/>
                        </a:rPr>
                        <a:t> </a:t>
                      </a:r>
                      <a:r>
                        <a:rPr lang="nl-NL" sz="1050" u="none" strike="noStrike" dirty="0" err="1">
                          <a:effectLst/>
                        </a:rPr>
                        <a:t>perceptiveness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878679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Active </a:t>
                      </a:r>
                      <a:r>
                        <a:rPr lang="nl-NL" sz="1050" u="none" strike="noStrike" dirty="0" err="1">
                          <a:effectLst/>
                        </a:rPr>
                        <a:t>listening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4130874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Dependability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1621785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Integrity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838597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Complex </a:t>
                      </a:r>
                      <a:r>
                        <a:rPr lang="nl-NL" sz="1050" u="none" strike="noStrike" dirty="0" err="1">
                          <a:effectLst/>
                        </a:rPr>
                        <a:t>problem</a:t>
                      </a:r>
                      <a:r>
                        <a:rPr lang="nl-NL" sz="1050" u="none" strike="noStrike" dirty="0">
                          <a:effectLst/>
                        </a:rPr>
                        <a:t> </a:t>
                      </a:r>
                      <a:r>
                        <a:rPr lang="nl-NL" sz="1050" u="none" strike="noStrike" dirty="0" err="1">
                          <a:effectLst/>
                        </a:rPr>
                        <a:t>solving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5630490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Critical thinking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2803717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Mathematics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965882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Writing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2126477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Active </a:t>
                      </a:r>
                      <a:r>
                        <a:rPr lang="nl-NL" sz="1050" u="none" strike="noStrike" dirty="0" err="1">
                          <a:effectLst/>
                        </a:rPr>
                        <a:t>learning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7832935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Analytical thinking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4019332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Independence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1787170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Innovation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1161542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Learning strategies</a:t>
                      </a:r>
                      <a:endParaRPr lang="nl-NL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5428089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Reading </a:t>
                      </a:r>
                      <a:r>
                        <a:rPr lang="nl-NL" sz="1050" u="none" strike="noStrike" dirty="0" err="1">
                          <a:effectLst/>
                        </a:rPr>
                        <a:t>comprehension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512266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Science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07977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Attention </a:t>
                      </a:r>
                      <a:r>
                        <a:rPr lang="nl-NL" sz="1050" u="none" strike="noStrike" dirty="0" err="1">
                          <a:effectLst/>
                        </a:rPr>
                        <a:t>to</a:t>
                      </a:r>
                      <a:r>
                        <a:rPr lang="nl-NL" sz="1050" u="none" strike="noStrike" dirty="0">
                          <a:effectLst/>
                        </a:rPr>
                        <a:t> detail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8123651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>
                          <a:effectLst/>
                        </a:rPr>
                        <a:t>Coordination</a:t>
                      </a:r>
                      <a:endParaRPr lang="nl-NL" sz="1050" b="0" i="0" u="none" strike="noStrike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2300149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Instructing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4351758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Monitoring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77486191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 err="1">
                          <a:effectLst/>
                        </a:rPr>
                        <a:t>Persistence</a:t>
                      </a:r>
                      <a:endParaRPr lang="nl-N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4606624"/>
                  </a:ext>
                </a:extLst>
              </a:tr>
              <a:tr h="179174">
                <a:tc>
                  <a:txBody>
                    <a:bodyPr/>
                    <a:lstStyle/>
                    <a:p>
                      <a:pPr algn="l" fontAlgn="ctr"/>
                      <a:r>
                        <a:rPr lang="nl-NL" sz="1050" u="none" strike="noStrike" dirty="0">
                          <a:effectLst/>
                        </a:rPr>
                        <a:t>Service </a:t>
                      </a:r>
                      <a:r>
                        <a:rPr lang="nl-NL" sz="1050" u="none" strike="noStrike" dirty="0" err="1">
                          <a:effectLst/>
                        </a:rPr>
                        <a:t>orientation</a:t>
                      </a:r>
                      <a:endParaRPr lang="nl-NL" sz="105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79" marR="6279" marT="627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9352962"/>
                  </a:ext>
                </a:extLst>
              </a:tr>
            </a:tbl>
          </a:graphicData>
        </a:graphic>
      </p:graphicFrame>
      <p:sp>
        <p:nvSpPr>
          <p:cNvPr id="4" name="Tekstvak 5">
            <a:extLst>
              <a:ext uri="{FF2B5EF4-FFF2-40B4-BE49-F238E27FC236}">
                <a16:creationId xmlns:a16="http://schemas.microsoft.com/office/drawing/2014/main" id="{D28C09CD-1636-783C-DFD8-7AC6CCB23A80}"/>
              </a:ext>
            </a:extLst>
          </p:cNvPr>
          <p:cNvSpPr txBox="1"/>
          <p:nvPr/>
        </p:nvSpPr>
        <p:spPr>
          <a:xfrm>
            <a:off x="4439832" y="2927026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upporting | Cooperating</a:t>
            </a:r>
          </a:p>
        </p:txBody>
      </p:sp>
      <p:sp>
        <p:nvSpPr>
          <p:cNvPr id="5" name="Tekstvak 6">
            <a:extLst>
              <a:ext uri="{FF2B5EF4-FFF2-40B4-BE49-F238E27FC236}">
                <a16:creationId xmlns:a16="http://schemas.microsoft.com/office/drawing/2014/main" id="{19760A8E-B3B6-42F4-429B-1E44DDF770FB}"/>
              </a:ext>
            </a:extLst>
          </p:cNvPr>
          <p:cNvSpPr txBox="1"/>
          <p:nvPr/>
        </p:nvSpPr>
        <p:spPr>
          <a:xfrm>
            <a:off x="4466827" y="3901898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nalysing | Interpreting</a:t>
            </a:r>
          </a:p>
        </p:txBody>
      </p:sp>
      <p:sp>
        <p:nvSpPr>
          <p:cNvPr id="6" name="Tekstvak 7">
            <a:extLst>
              <a:ext uri="{FF2B5EF4-FFF2-40B4-BE49-F238E27FC236}">
                <a16:creationId xmlns:a16="http://schemas.microsoft.com/office/drawing/2014/main" id="{B51B11C7-075D-0ABA-15EA-F274B31FBAC7}"/>
              </a:ext>
            </a:extLst>
          </p:cNvPr>
          <p:cNvSpPr txBox="1"/>
          <p:nvPr/>
        </p:nvSpPr>
        <p:spPr>
          <a:xfrm>
            <a:off x="4439832" y="965285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teracting | Presenting</a:t>
            </a:r>
          </a:p>
        </p:txBody>
      </p:sp>
      <p:sp>
        <p:nvSpPr>
          <p:cNvPr id="7" name="Tekstvak 8">
            <a:extLst>
              <a:ext uri="{FF2B5EF4-FFF2-40B4-BE49-F238E27FC236}">
                <a16:creationId xmlns:a16="http://schemas.microsoft.com/office/drawing/2014/main" id="{074DD9B5-2785-B253-1E57-A13CFD7AA9B4}"/>
              </a:ext>
            </a:extLst>
          </p:cNvPr>
          <p:cNvSpPr txBox="1"/>
          <p:nvPr/>
        </p:nvSpPr>
        <p:spPr>
          <a:xfrm>
            <a:off x="4439832" y="1398552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eading | Deciding</a:t>
            </a:r>
          </a:p>
        </p:txBody>
      </p:sp>
      <p:sp>
        <p:nvSpPr>
          <p:cNvPr id="8" name="Tekstvak 9">
            <a:extLst>
              <a:ext uri="{FF2B5EF4-FFF2-40B4-BE49-F238E27FC236}">
                <a16:creationId xmlns:a16="http://schemas.microsoft.com/office/drawing/2014/main" id="{B161C5BF-6BDA-D14E-79A0-986E92D450B6}"/>
              </a:ext>
            </a:extLst>
          </p:cNvPr>
          <p:cNvSpPr txBox="1"/>
          <p:nvPr/>
        </p:nvSpPr>
        <p:spPr>
          <a:xfrm>
            <a:off x="4441699" y="2265086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dapting | Coping</a:t>
            </a:r>
          </a:p>
        </p:txBody>
      </p:sp>
      <p:sp>
        <p:nvSpPr>
          <p:cNvPr id="9" name="Tekstvak 10">
            <a:extLst>
              <a:ext uri="{FF2B5EF4-FFF2-40B4-BE49-F238E27FC236}">
                <a16:creationId xmlns:a16="http://schemas.microsoft.com/office/drawing/2014/main" id="{1EEB2531-2489-E729-A0F9-43DC401B730C}"/>
              </a:ext>
            </a:extLst>
          </p:cNvPr>
          <p:cNvSpPr txBox="1"/>
          <p:nvPr/>
        </p:nvSpPr>
        <p:spPr>
          <a:xfrm>
            <a:off x="4500102" y="4807120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reating | Conceptualising</a:t>
            </a:r>
          </a:p>
        </p:txBody>
      </p:sp>
      <p:sp>
        <p:nvSpPr>
          <p:cNvPr id="10" name="Tekstvak 11">
            <a:extLst>
              <a:ext uri="{FF2B5EF4-FFF2-40B4-BE49-F238E27FC236}">
                <a16:creationId xmlns:a16="http://schemas.microsoft.com/office/drawing/2014/main" id="{AAC946C6-ACF5-C1FA-1192-EEC12BD625A5}"/>
              </a:ext>
            </a:extLst>
          </p:cNvPr>
          <p:cNvSpPr txBox="1"/>
          <p:nvPr/>
        </p:nvSpPr>
        <p:spPr>
          <a:xfrm>
            <a:off x="4500102" y="6097467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Organising | Executing</a:t>
            </a:r>
          </a:p>
        </p:txBody>
      </p:sp>
      <p:sp>
        <p:nvSpPr>
          <p:cNvPr id="12" name="Tekstvak 12">
            <a:extLst>
              <a:ext uri="{FF2B5EF4-FFF2-40B4-BE49-F238E27FC236}">
                <a16:creationId xmlns:a16="http://schemas.microsoft.com/office/drawing/2014/main" id="{A02E8CA8-4C39-6D25-128B-64C0C8668A88}"/>
              </a:ext>
            </a:extLst>
          </p:cNvPr>
          <p:cNvSpPr txBox="1"/>
          <p:nvPr/>
        </p:nvSpPr>
        <p:spPr>
          <a:xfrm>
            <a:off x="4439832" y="1856196"/>
            <a:ext cx="2628000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nterprising| Performing</a:t>
            </a:r>
          </a:p>
        </p:txBody>
      </p:sp>
      <p:sp>
        <p:nvSpPr>
          <p:cNvPr id="13" name="Linkeraccolade 13">
            <a:extLst>
              <a:ext uri="{FF2B5EF4-FFF2-40B4-BE49-F238E27FC236}">
                <a16:creationId xmlns:a16="http://schemas.microsoft.com/office/drawing/2014/main" id="{B749E34E-18EA-F09B-3EDD-8C59FB99AAF7}"/>
              </a:ext>
            </a:extLst>
          </p:cNvPr>
          <p:cNvSpPr/>
          <p:nvPr/>
        </p:nvSpPr>
        <p:spPr>
          <a:xfrm flipH="1">
            <a:off x="3731779" y="879106"/>
            <a:ext cx="231118" cy="682956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4" name="Linkeraccolade 14">
            <a:extLst>
              <a:ext uri="{FF2B5EF4-FFF2-40B4-BE49-F238E27FC236}">
                <a16:creationId xmlns:a16="http://schemas.microsoft.com/office/drawing/2014/main" id="{AE5364CB-3D29-6A4C-C2AA-532128714988}"/>
              </a:ext>
            </a:extLst>
          </p:cNvPr>
          <p:cNvSpPr/>
          <p:nvPr/>
        </p:nvSpPr>
        <p:spPr>
          <a:xfrm flipH="1">
            <a:off x="3738282" y="1949456"/>
            <a:ext cx="231118" cy="159651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Linkeraccolade 17">
            <a:extLst>
              <a:ext uri="{FF2B5EF4-FFF2-40B4-BE49-F238E27FC236}">
                <a16:creationId xmlns:a16="http://schemas.microsoft.com/office/drawing/2014/main" id="{F8599AFE-843A-22E2-A2B6-3B40499E00DC}"/>
              </a:ext>
            </a:extLst>
          </p:cNvPr>
          <p:cNvSpPr/>
          <p:nvPr/>
        </p:nvSpPr>
        <p:spPr>
          <a:xfrm flipH="1">
            <a:off x="3975173" y="5702642"/>
            <a:ext cx="268446" cy="1063691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6" name="Linkeraccolade 18">
            <a:extLst>
              <a:ext uri="{FF2B5EF4-FFF2-40B4-BE49-F238E27FC236}">
                <a16:creationId xmlns:a16="http://schemas.microsoft.com/office/drawing/2014/main" id="{5AA22026-2C1A-FE2E-0102-4C0BC8FF84C3}"/>
              </a:ext>
            </a:extLst>
          </p:cNvPr>
          <p:cNvSpPr/>
          <p:nvPr/>
        </p:nvSpPr>
        <p:spPr>
          <a:xfrm flipH="1">
            <a:off x="3993143" y="1562062"/>
            <a:ext cx="231118" cy="331850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7" name="Linkeraccolade 19">
            <a:extLst>
              <a:ext uri="{FF2B5EF4-FFF2-40B4-BE49-F238E27FC236}">
                <a16:creationId xmlns:a16="http://schemas.microsoft.com/office/drawing/2014/main" id="{1C5D2F4C-132C-7B07-765C-68AA9EE4890A}"/>
              </a:ext>
            </a:extLst>
          </p:cNvPr>
          <p:cNvSpPr/>
          <p:nvPr/>
        </p:nvSpPr>
        <p:spPr>
          <a:xfrm flipH="1">
            <a:off x="4006513" y="2109123"/>
            <a:ext cx="224615" cy="474770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Linkeraccolade 20">
            <a:extLst>
              <a:ext uri="{FF2B5EF4-FFF2-40B4-BE49-F238E27FC236}">
                <a16:creationId xmlns:a16="http://schemas.microsoft.com/office/drawing/2014/main" id="{FB77BD2F-3E22-4950-A98D-FC5D4B718655}"/>
              </a:ext>
            </a:extLst>
          </p:cNvPr>
          <p:cNvSpPr/>
          <p:nvPr/>
        </p:nvSpPr>
        <p:spPr>
          <a:xfrm flipH="1">
            <a:off x="3731779" y="2585170"/>
            <a:ext cx="224616" cy="1132513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9" name="Linkeraccolade 21">
            <a:extLst>
              <a:ext uri="{FF2B5EF4-FFF2-40B4-BE49-F238E27FC236}">
                <a16:creationId xmlns:a16="http://schemas.microsoft.com/office/drawing/2014/main" id="{330C9874-3BE6-1C1B-A0E5-45DD5C558364}"/>
              </a:ext>
            </a:extLst>
          </p:cNvPr>
          <p:cNvSpPr/>
          <p:nvPr/>
        </p:nvSpPr>
        <p:spPr>
          <a:xfrm flipH="1">
            <a:off x="3969400" y="3741105"/>
            <a:ext cx="274219" cy="682956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0" name="Linkeraccolade 22">
            <a:extLst>
              <a:ext uri="{FF2B5EF4-FFF2-40B4-BE49-F238E27FC236}">
                <a16:creationId xmlns:a16="http://schemas.microsoft.com/office/drawing/2014/main" id="{FF32AF94-D875-140B-A473-B0EADF3ED92B}"/>
              </a:ext>
            </a:extLst>
          </p:cNvPr>
          <p:cNvSpPr/>
          <p:nvPr/>
        </p:nvSpPr>
        <p:spPr>
          <a:xfrm flipH="1">
            <a:off x="3734949" y="4455022"/>
            <a:ext cx="273509" cy="1228031"/>
          </a:xfrm>
          <a:prstGeom prst="leftBrac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21" name="Afbeelding 28">
            <a:extLst>
              <a:ext uri="{FF2B5EF4-FFF2-40B4-BE49-F238E27FC236}">
                <a16:creationId xmlns:a16="http://schemas.microsoft.com/office/drawing/2014/main" id="{38C0E0FB-5F2E-131D-17A0-A2ABDA0F6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323" y="33084"/>
            <a:ext cx="1258604" cy="754002"/>
          </a:xfrm>
          <a:prstGeom prst="rect">
            <a:avLst/>
          </a:prstGeom>
        </p:spPr>
      </p:pic>
      <p:sp>
        <p:nvSpPr>
          <p:cNvPr id="22" name="Tekstvak 2">
            <a:extLst>
              <a:ext uri="{FF2B5EF4-FFF2-40B4-BE49-F238E27FC236}">
                <a16:creationId xmlns:a16="http://schemas.microsoft.com/office/drawing/2014/main" id="{B2B3D562-6B61-3C64-2134-9F2986F633A3}"/>
              </a:ext>
            </a:extLst>
          </p:cNvPr>
          <p:cNvSpPr txBox="1"/>
          <p:nvPr/>
        </p:nvSpPr>
        <p:spPr>
          <a:xfrm>
            <a:off x="4439832" y="296523"/>
            <a:ext cx="2337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artram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(2005)</a:t>
            </a:r>
          </a:p>
        </p:txBody>
      </p:sp>
      <p:sp>
        <p:nvSpPr>
          <p:cNvPr id="23" name="Tekstvak 29">
            <a:extLst>
              <a:ext uri="{FF2B5EF4-FFF2-40B4-BE49-F238E27FC236}">
                <a16:creationId xmlns:a16="http://schemas.microsoft.com/office/drawing/2014/main" id="{C77D5CC4-0135-2B19-21FF-74FCA19C5949}"/>
              </a:ext>
            </a:extLst>
          </p:cNvPr>
          <p:cNvSpPr txBox="1"/>
          <p:nvPr/>
        </p:nvSpPr>
        <p:spPr>
          <a:xfrm>
            <a:off x="8142483" y="325628"/>
            <a:ext cx="13219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Personality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kstvak 15">
            <a:extLst>
              <a:ext uri="{FF2B5EF4-FFF2-40B4-BE49-F238E27FC236}">
                <a16:creationId xmlns:a16="http://schemas.microsoft.com/office/drawing/2014/main" id="{2957858C-05D0-05F2-38F1-29611C3B624D}"/>
              </a:ext>
            </a:extLst>
          </p:cNvPr>
          <p:cNvSpPr txBox="1"/>
          <p:nvPr/>
        </p:nvSpPr>
        <p:spPr>
          <a:xfrm>
            <a:off x="8496266" y="972725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+</a:t>
            </a:r>
          </a:p>
        </p:txBody>
      </p:sp>
      <p:sp>
        <p:nvSpPr>
          <p:cNvPr id="25" name="Tekstvak 30">
            <a:extLst>
              <a:ext uri="{FF2B5EF4-FFF2-40B4-BE49-F238E27FC236}">
                <a16:creationId xmlns:a16="http://schemas.microsoft.com/office/drawing/2014/main" id="{06DB105B-890A-269A-C187-6642F3633759}"/>
              </a:ext>
            </a:extLst>
          </p:cNvPr>
          <p:cNvSpPr txBox="1"/>
          <p:nvPr/>
        </p:nvSpPr>
        <p:spPr>
          <a:xfrm>
            <a:off x="8496266" y="1361635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26" name="Tekstvak 31">
            <a:extLst>
              <a:ext uri="{FF2B5EF4-FFF2-40B4-BE49-F238E27FC236}">
                <a16:creationId xmlns:a16="http://schemas.microsoft.com/office/drawing/2014/main" id="{B471AEB7-BF16-D38F-E38F-A610001202F0}"/>
              </a:ext>
            </a:extLst>
          </p:cNvPr>
          <p:cNvSpPr txBox="1"/>
          <p:nvPr/>
        </p:nvSpPr>
        <p:spPr>
          <a:xfrm>
            <a:off x="8496266" y="1852027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27" name="Tekstvak 32">
            <a:extLst>
              <a:ext uri="{FF2B5EF4-FFF2-40B4-BE49-F238E27FC236}">
                <a16:creationId xmlns:a16="http://schemas.microsoft.com/office/drawing/2014/main" id="{6B223B10-48EE-E3EE-0AD8-16B68F666F56}"/>
              </a:ext>
            </a:extLst>
          </p:cNvPr>
          <p:cNvSpPr txBox="1"/>
          <p:nvPr/>
        </p:nvSpPr>
        <p:spPr>
          <a:xfrm>
            <a:off x="8496266" y="2312204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28" name="Tekstvak 33">
            <a:extLst>
              <a:ext uri="{FF2B5EF4-FFF2-40B4-BE49-F238E27FC236}">
                <a16:creationId xmlns:a16="http://schemas.microsoft.com/office/drawing/2014/main" id="{02E00269-D2D9-9C76-0BA0-CDAAF03FFDB9}"/>
              </a:ext>
            </a:extLst>
          </p:cNvPr>
          <p:cNvSpPr txBox="1"/>
          <p:nvPr/>
        </p:nvSpPr>
        <p:spPr>
          <a:xfrm>
            <a:off x="8496266" y="2894015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29" name="Tekstvak 34">
            <a:extLst>
              <a:ext uri="{FF2B5EF4-FFF2-40B4-BE49-F238E27FC236}">
                <a16:creationId xmlns:a16="http://schemas.microsoft.com/office/drawing/2014/main" id="{9C3FAEC7-27A9-2CF1-0A58-30BAF887F907}"/>
              </a:ext>
            </a:extLst>
          </p:cNvPr>
          <p:cNvSpPr txBox="1"/>
          <p:nvPr/>
        </p:nvSpPr>
        <p:spPr>
          <a:xfrm>
            <a:off x="8496266" y="3928694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30" name="Tekstvak 35">
            <a:extLst>
              <a:ext uri="{FF2B5EF4-FFF2-40B4-BE49-F238E27FC236}">
                <a16:creationId xmlns:a16="http://schemas.microsoft.com/office/drawing/2014/main" id="{1CAF5FB1-2DA2-9436-234A-91E416CC97CF}"/>
              </a:ext>
            </a:extLst>
          </p:cNvPr>
          <p:cNvSpPr txBox="1"/>
          <p:nvPr/>
        </p:nvSpPr>
        <p:spPr>
          <a:xfrm>
            <a:off x="8496266" y="4815499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+</a:t>
            </a:r>
          </a:p>
        </p:txBody>
      </p:sp>
      <p:sp>
        <p:nvSpPr>
          <p:cNvPr id="31" name="Tekstvak 36">
            <a:extLst>
              <a:ext uri="{FF2B5EF4-FFF2-40B4-BE49-F238E27FC236}">
                <a16:creationId xmlns:a16="http://schemas.microsoft.com/office/drawing/2014/main" id="{A4712526-1FE1-1D4B-5B41-3AA3A38AD2F3}"/>
              </a:ext>
            </a:extLst>
          </p:cNvPr>
          <p:cNvSpPr txBox="1"/>
          <p:nvPr/>
        </p:nvSpPr>
        <p:spPr>
          <a:xfrm>
            <a:off x="8496266" y="6101083"/>
            <a:ext cx="632206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32" name="Tekstvak 38">
            <a:extLst>
              <a:ext uri="{FF2B5EF4-FFF2-40B4-BE49-F238E27FC236}">
                <a16:creationId xmlns:a16="http://schemas.microsoft.com/office/drawing/2014/main" id="{B88727FF-B38E-4A79-1FA0-61EB7166D08A}"/>
              </a:ext>
            </a:extLst>
          </p:cNvPr>
          <p:cNvSpPr txBox="1"/>
          <p:nvPr/>
        </p:nvSpPr>
        <p:spPr>
          <a:xfrm>
            <a:off x="9220983" y="328861"/>
            <a:ext cx="1258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bility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ekstvak 39">
            <a:extLst>
              <a:ext uri="{FF2B5EF4-FFF2-40B4-BE49-F238E27FC236}">
                <a16:creationId xmlns:a16="http://schemas.microsoft.com/office/drawing/2014/main" id="{E25F38AC-FFA6-E02E-7349-DD75CDF00191}"/>
              </a:ext>
            </a:extLst>
          </p:cNvPr>
          <p:cNvSpPr txBox="1"/>
          <p:nvPr/>
        </p:nvSpPr>
        <p:spPr>
          <a:xfrm>
            <a:off x="9534182" y="972725"/>
            <a:ext cx="632206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34" name="Tekstvak 40">
            <a:extLst>
              <a:ext uri="{FF2B5EF4-FFF2-40B4-BE49-F238E27FC236}">
                <a16:creationId xmlns:a16="http://schemas.microsoft.com/office/drawing/2014/main" id="{F042CBE5-DA50-92C6-6496-B7A4674664A0}"/>
              </a:ext>
            </a:extLst>
          </p:cNvPr>
          <p:cNvSpPr txBox="1"/>
          <p:nvPr/>
        </p:nvSpPr>
        <p:spPr>
          <a:xfrm>
            <a:off x="9534182" y="1361635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Tekstvak 41">
            <a:extLst>
              <a:ext uri="{FF2B5EF4-FFF2-40B4-BE49-F238E27FC236}">
                <a16:creationId xmlns:a16="http://schemas.microsoft.com/office/drawing/2014/main" id="{4A37F05A-5697-8787-829A-2C1D9DA11EB8}"/>
              </a:ext>
            </a:extLst>
          </p:cNvPr>
          <p:cNvSpPr txBox="1"/>
          <p:nvPr/>
        </p:nvSpPr>
        <p:spPr>
          <a:xfrm>
            <a:off x="9534182" y="1852027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Tekstvak 42">
            <a:extLst>
              <a:ext uri="{FF2B5EF4-FFF2-40B4-BE49-F238E27FC236}">
                <a16:creationId xmlns:a16="http://schemas.microsoft.com/office/drawing/2014/main" id="{A10B4F35-3178-4985-FFDE-2C004BC49EF0}"/>
              </a:ext>
            </a:extLst>
          </p:cNvPr>
          <p:cNvSpPr txBox="1"/>
          <p:nvPr/>
        </p:nvSpPr>
        <p:spPr>
          <a:xfrm>
            <a:off x="9534182" y="2312204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Tekstvak 43">
            <a:extLst>
              <a:ext uri="{FF2B5EF4-FFF2-40B4-BE49-F238E27FC236}">
                <a16:creationId xmlns:a16="http://schemas.microsoft.com/office/drawing/2014/main" id="{6F0629D8-0957-4197-4523-DD2C41A2DF7B}"/>
              </a:ext>
            </a:extLst>
          </p:cNvPr>
          <p:cNvSpPr txBox="1"/>
          <p:nvPr/>
        </p:nvSpPr>
        <p:spPr>
          <a:xfrm>
            <a:off x="9534182" y="2894015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Tekstvak 44">
            <a:extLst>
              <a:ext uri="{FF2B5EF4-FFF2-40B4-BE49-F238E27FC236}">
                <a16:creationId xmlns:a16="http://schemas.microsoft.com/office/drawing/2014/main" id="{9256047C-3B4B-1A38-8A90-EC6B91D26577}"/>
              </a:ext>
            </a:extLst>
          </p:cNvPr>
          <p:cNvSpPr txBox="1"/>
          <p:nvPr/>
        </p:nvSpPr>
        <p:spPr>
          <a:xfrm>
            <a:off x="9534182" y="3928694"/>
            <a:ext cx="632206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+</a:t>
            </a:r>
          </a:p>
        </p:txBody>
      </p:sp>
      <p:sp>
        <p:nvSpPr>
          <p:cNvPr id="39" name="Tekstvak 45">
            <a:extLst>
              <a:ext uri="{FF2B5EF4-FFF2-40B4-BE49-F238E27FC236}">
                <a16:creationId xmlns:a16="http://schemas.microsoft.com/office/drawing/2014/main" id="{BA99A565-DB9B-A75C-F3AC-116639869683}"/>
              </a:ext>
            </a:extLst>
          </p:cNvPr>
          <p:cNvSpPr txBox="1"/>
          <p:nvPr/>
        </p:nvSpPr>
        <p:spPr>
          <a:xfrm>
            <a:off x="9534182" y="4815499"/>
            <a:ext cx="632206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0" name="Tekstvak 46">
            <a:extLst>
              <a:ext uri="{FF2B5EF4-FFF2-40B4-BE49-F238E27FC236}">
                <a16:creationId xmlns:a16="http://schemas.microsoft.com/office/drawing/2014/main" id="{A18FFBAD-CC79-26A0-714B-98863C835038}"/>
              </a:ext>
            </a:extLst>
          </p:cNvPr>
          <p:cNvSpPr txBox="1"/>
          <p:nvPr/>
        </p:nvSpPr>
        <p:spPr>
          <a:xfrm>
            <a:off x="9534182" y="6101083"/>
            <a:ext cx="632206" cy="30777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1" name="Tekstvak 47">
            <a:extLst>
              <a:ext uri="{FF2B5EF4-FFF2-40B4-BE49-F238E27FC236}">
                <a16:creationId xmlns:a16="http://schemas.microsoft.com/office/drawing/2014/main" id="{C4FEABFA-2A87-92E7-579D-4DA3C813BE10}"/>
              </a:ext>
            </a:extLst>
          </p:cNvPr>
          <p:cNvSpPr txBox="1"/>
          <p:nvPr/>
        </p:nvSpPr>
        <p:spPr>
          <a:xfrm>
            <a:off x="10299483" y="316220"/>
            <a:ext cx="12586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ehaviour</a:t>
            </a:r>
            <a:endParaRPr kumimoji="0" lang="nl-NL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Tekstvak 48">
            <a:extLst>
              <a:ext uri="{FF2B5EF4-FFF2-40B4-BE49-F238E27FC236}">
                <a16:creationId xmlns:a16="http://schemas.microsoft.com/office/drawing/2014/main" id="{23F29E53-E773-38C9-48F4-3684CDA66B40}"/>
              </a:ext>
            </a:extLst>
          </p:cNvPr>
          <p:cNvSpPr txBox="1"/>
          <p:nvPr/>
        </p:nvSpPr>
        <p:spPr>
          <a:xfrm>
            <a:off x="10586883" y="945710"/>
            <a:ext cx="632206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3" name="Tekstvak 49">
            <a:extLst>
              <a:ext uri="{FF2B5EF4-FFF2-40B4-BE49-F238E27FC236}">
                <a16:creationId xmlns:a16="http://schemas.microsoft.com/office/drawing/2014/main" id="{323D7737-0952-B4B6-A353-A3C72A5A80B6}"/>
              </a:ext>
            </a:extLst>
          </p:cNvPr>
          <p:cNvSpPr txBox="1"/>
          <p:nvPr/>
        </p:nvSpPr>
        <p:spPr>
          <a:xfrm>
            <a:off x="10586883" y="1334620"/>
            <a:ext cx="632206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4" name="Tekstvak 50">
            <a:extLst>
              <a:ext uri="{FF2B5EF4-FFF2-40B4-BE49-F238E27FC236}">
                <a16:creationId xmlns:a16="http://schemas.microsoft.com/office/drawing/2014/main" id="{E1933B00-0209-7628-02E0-D710E1B1D920}"/>
              </a:ext>
            </a:extLst>
          </p:cNvPr>
          <p:cNvSpPr txBox="1"/>
          <p:nvPr/>
        </p:nvSpPr>
        <p:spPr>
          <a:xfrm>
            <a:off x="10586883" y="1825012"/>
            <a:ext cx="632206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5" name="Tekstvak 51">
            <a:extLst>
              <a:ext uri="{FF2B5EF4-FFF2-40B4-BE49-F238E27FC236}">
                <a16:creationId xmlns:a16="http://schemas.microsoft.com/office/drawing/2014/main" id="{DFF7F6B4-E368-F2A0-F134-EB0FE5C70B9F}"/>
              </a:ext>
            </a:extLst>
          </p:cNvPr>
          <p:cNvSpPr txBox="1"/>
          <p:nvPr/>
        </p:nvSpPr>
        <p:spPr>
          <a:xfrm>
            <a:off x="10586883" y="2285189"/>
            <a:ext cx="632206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6" name="Tekstvak 52">
            <a:extLst>
              <a:ext uri="{FF2B5EF4-FFF2-40B4-BE49-F238E27FC236}">
                <a16:creationId xmlns:a16="http://schemas.microsoft.com/office/drawing/2014/main" id="{129B1DDD-6E7C-FB60-3D60-C73592F36F3D}"/>
              </a:ext>
            </a:extLst>
          </p:cNvPr>
          <p:cNvSpPr txBox="1"/>
          <p:nvPr/>
        </p:nvSpPr>
        <p:spPr>
          <a:xfrm>
            <a:off x="10586883" y="2867000"/>
            <a:ext cx="632206" cy="30777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+</a:t>
            </a:r>
          </a:p>
        </p:txBody>
      </p:sp>
      <p:sp>
        <p:nvSpPr>
          <p:cNvPr id="47" name="Tekstvak 53">
            <a:extLst>
              <a:ext uri="{FF2B5EF4-FFF2-40B4-BE49-F238E27FC236}">
                <a16:creationId xmlns:a16="http://schemas.microsoft.com/office/drawing/2014/main" id="{F6AD78C3-BACB-FB74-FA54-8563350FB1B3}"/>
              </a:ext>
            </a:extLst>
          </p:cNvPr>
          <p:cNvSpPr txBox="1"/>
          <p:nvPr/>
        </p:nvSpPr>
        <p:spPr>
          <a:xfrm>
            <a:off x="10586883" y="3901679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8" name="Tekstvak 54">
            <a:extLst>
              <a:ext uri="{FF2B5EF4-FFF2-40B4-BE49-F238E27FC236}">
                <a16:creationId xmlns:a16="http://schemas.microsoft.com/office/drawing/2014/main" id="{59714125-76E7-295B-A75F-B07A2642C059}"/>
              </a:ext>
            </a:extLst>
          </p:cNvPr>
          <p:cNvSpPr txBox="1"/>
          <p:nvPr/>
        </p:nvSpPr>
        <p:spPr>
          <a:xfrm>
            <a:off x="10586883" y="4788484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9" name="Tekstvak 55">
            <a:extLst>
              <a:ext uri="{FF2B5EF4-FFF2-40B4-BE49-F238E27FC236}">
                <a16:creationId xmlns:a16="http://schemas.microsoft.com/office/drawing/2014/main" id="{BF27C774-7D3F-03A2-7F08-8325982D2670}"/>
              </a:ext>
            </a:extLst>
          </p:cNvPr>
          <p:cNvSpPr txBox="1"/>
          <p:nvPr/>
        </p:nvSpPr>
        <p:spPr>
          <a:xfrm>
            <a:off x="10586883" y="6074068"/>
            <a:ext cx="632206" cy="30777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50" name="Golf 62">
            <a:extLst>
              <a:ext uri="{FF2B5EF4-FFF2-40B4-BE49-F238E27FC236}">
                <a16:creationId xmlns:a16="http://schemas.microsoft.com/office/drawing/2014/main" id="{0BBE3ED3-0F10-297C-A58F-E56F61FAACBF}"/>
              </a:ext>
            </a:extLst>
          </p:cNvPr>
          <p:cNvSpPr/>
          <p:nvPr/>
        </p:nvSpPr>
        <p:spPr>
          <a:xfrm>
            <a:off x="873964" y="2899327"/>
            <a:ext cx="10910968" cy="2232000"/>
          </a:xfrm>
          <a:prstGeom prst="wav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80B9"/>
              </a:buClr>
              <a:buSzTx/>
              <a:buFontTx/>
              <a:buNone/>
              <a:tabLst/>
              <a:defRPr/>
            </a:pPr>
            <a:r>
              <a:rPr kumimoji="0" lang="nl-NL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F</a:t>
            </a:r>
            <a:r>
              <a:rPr kumimoji="0" lang="nl-NL" sz="3200" b="1" i="0" u="none" strike="noStrike" kern="1200" cap="none" spc="0" normalizeH="0" baseline="-25000" noProof="0" dirty="0" err="1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kill</a:t>
            </a: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(x) = 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Σ</a:t>
            </a: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(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α</a:t>
            </a:r>
            <a:r>
              <a:rPr kumimoji="0" lang="nl-NL" sz="3200" b="1" i="0" u="none" strike="noStrike" kern="1200" cap="none" spc="0" normalizeH="0" baseline="-2500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β</a:t>
            </a:r>
            <a:r>
              <a:rPr kumimoji="0" lang="nl-NL" sz="3200" b="1" i="0" u="none" strike="noStrike" kern="1200" cap="none" spc="0" normalizeH="0" baseline="-25000" noProof="0" dirty="0" err="1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personality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+ α</a:t>
            </a:r>
            <a:r>
              <a:rPr kumimoji="0" lang="nl-NL" sz="3200" b="1" i="0" u="none" strike="noStrike" kern="1200" cap="none" spc="0" normalizeH="0" baseline="-2500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β</a:t>
            </a:r>
            <a:r>
              <a:rPr kumimoji="0" lang="nl-NL" sz="3200" b="1" i="0" u="none" strike="noStrike" kern="1200" cap="none" spc="0" normalizeH="0" baseline="-25000" noProof="0" dirty="0" err="1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ability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+ α</a:t>
            </a:r>
            <a:r>
              <a:rPr kumimoji="0" lang="nl-NL" sz="3200" b="1" i="0" u="none" strike="noStrike" kern="1200" cap="none" spc="0" normalizeH="0" baseline="-2500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β</a:t>
            </a:r>
            <a:r>
              <a:rPr kumimoji="0" lang="nl-NL" sz="3200" b="1" i="0" u="none" strike="noStrike" kern="1200" cap="none" spc="0" normalizeH="0" baseline="-25000" noProof="0" dirty="0" err="1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behaviour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+</a:t>
            </a: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 </a:t>
            </a:r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ε</a:t>
            </a:r>
            <a:r>
              <a:rPr kumimoji="0" lang="nl-NL" sz="3200" b="1" i="0" u="none" strike="noStrike" kern="1200" cap="none" spc="0" normalizeH="0" baseline="0" noProof="0" dirty="0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)/ </a:t>
            </a:r>
            <a:r>
              <a:rPr kumimoji="0" lang="nl-NL" sz="3200" b="1" i="0" u="none" strike="noStrike" kern="1200" cap="none" spc="0" normalizeH="1" baseline="-10000" noProof="0" dirty="0" err="1">
                <a:ln>
                  <a:noFill/>
                </a:ln>
                <a:solidFill>
                  <a:srgbClr val="954F72">
                    <a:lumMod val="50000"/>
                  </a:srgbClr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df</a:t>
            </a:r>
            <a:endParaRPr kumimoji="0" lang="en-IE" sz="3200" b="1" i="0" u="none" strike="noStrike" kern="1200" cap="none" spc="0" normalizeH="0" baseline="0" noProof="0" dirty="0">
              <a:ln>
                <a:noFill/>
              </a:ln>
              <a:solidFill>
                <a:srgbClr val="954F72">
                  <a:lumMod val="50000"/>
                </a:srgbClr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pic>
        <p:nvPicPr>
          <p:cNvPr id="51" name="Picture 2" descr="Home">
            <a:extLst>
              <a:ext uri="{FF2B5EF4-FFF2-40B4-BE49-F238E27FC236}">
                <a16:creationId xmlns:a16="http://schemas.microsoft.com/office/drawing/2014/main" id="{4108ACC5-EC4D-9CE7-E688-A615B3F380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897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2" presetClass="entr" presetSubtype="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50" presetClass="entr" presetSubtype="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3000"/>
                            </p:stCondLst>
                            <p:childTnLst>
                              <p:par>
                                <p:cTn id="10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3500"/>
                            </p:stCondLst>
                            <p:childTnLst>
                              <p:par>
                                <p:cTn id="110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4500"/>
                            </p:stCondLst>
                            <p:childTnLst>
                              <p:par>
                                <p:cTn id="151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000"/>
                            </p:stCondLst>
                            <p:childTnLst>
                              <p:par>
                                <p:cTn id="156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5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0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5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8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0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5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50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6" fill="hold">
                      <p:stCondLst>
                        <p:cond delay="indefinite"/>
                      </p:stCondLst>
                      <p:childTnLst>
                        <p:par>
                          <p:cTn id="197" fill="hold">
                            <p:stCondLst>
                              <p:cond delay="0"/>
                            </p:stCondLst>
                            <p:childTnLst>
                              <p:par>
                                <p:cTn id="19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2" grpId="0"/>
      <p:bldP spid="23" grpId="0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 3">
            <a:extLst>
              <a:ext uri="{FF2B5EF4-FFF2-40B4-BE49-F238E27FC236}">
                <a16:creationId xmlns:a16="http://schemas.microsoft.com/office/drawing/2014/main" id="{F5727D80-63F5-C7C3-B642-EDE4E13144C6}"/>
              </a:ext>
            </a:extLst>
          </p:cNvPr>
          <p:cNvGrpSpPr/>
          <p:nvPr/>
        </p:nvGrpSpPr>
        <p:grpSpPr>
          <a:xfrm>
            <a:off x="4763750" y="1487176"/>
            <a:ext cx="3220386" cy="1990168"/>
            <a:chOff x="4839950" y="1487176"/>
            <a:chExt cx="3220386" cy="1990168"/>
          </a:xfrm>
        </p:grpSpPr>
        <p:pic>
          <p:nvPicPr>
            <p:cNvPr id="5" name="Picture 7">
              <a:extLst>
                <a:ext uri="{FF2B5EF4-FFF2-40B4-BE49-F238E27FC236}">
                  <a16:creationId xmlns:a16="http://schemas.microsoft.com/office/drawing/2014/main" id="{870C9903-BE9B-AE5E-1442-E22CCC199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455059" y="872067"/>
              <a:ext cx="1990168" cy="3220386"/>
            </a:xfrm>
            <a:prstGeom prst="rect">
              <a:avLst/>
            </a:prstGeom>
          </p:spPr>
        </p:pic>
        <p:pic>
          <p:nvPicPr>
            <p:cNvPr id="6" name="Afbeelding 55">
              <a:extLst>
                <a:ext uri="{FF2B5EF4-FFF2-40B4-BE49-F238E27FC236}">
                  <a16:creationId xmlns:a16="http://schemas.microsoft.com/office/drawing/2014/main" id="{613AE87B-0E72-D19B-C1A6-F05C6D32C2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99550" y="1870797"/>
              <a:ext cx="2053430" cy="1155054"/>
            </a:xfrm>
            <a:prstGeom prst="rect">
              <a:avLst/>
            </a:prstGeom>
            <a:ln>
              <a:solidFill>
                <a:srgbClr val="000000"/>
              </a:solidFill>
            </a:ln>
          </p:spPr>
        </p:pic>
      </p:grpSp>
      <p:grpSp>
        <p:nvGrpSpPr>
          <p:cNvPr id="7" name="Groep 4">
            <a:extLst>
              <a:ext uri="{FF2B5EF4-FFF2-40B4-BE49-F238E27FC236}">
                <a16:creationId xmlns:a16="http://schemas.microsoft.com/office/drawing/2014/main" id="{91B5F474-7619-6FFA-79FE-A7CC7D431793}"/>
              </a:ext>
            </a:extLst>
          </p:cNvPr>
          <p:cNvGrpSpPr/>
          <p:nvPr/>
        </p:nvGrpSpPr>
        <p:grpSpPr>
          <a:xfrm>
            <a:off x="4763750" y="4992616"/>
            <a:ext cx="3220386" cy="1990168"/>
            <a:chOff x="4718402" y="4992616"/>
            <a:chExt cx="3220386" cy="199016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6F5A7A7-38F0-086E-A4DD-703222C17F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333511" y="4377507"/>
              <a:ext cx="1990168" cy="3220386"/>
            </a:xfrm>
            <a:prstGeom prst="rect">
              <a:avLst/>
            </a:prstGeom>
          </p:spPr>
        </p:pic>
        <p:pic>
          <p:nvPicPr>
            <p:cNvPr id="9" name="Afbeelding 56">
              <a:extLst>
                <a:ext uri="{FF2B5EF4-FFF2-40B4-BE49-F238E27FC236}">
                  <a16:creationId xmlns:a16="http://schemas.microsoft.com/office/drawing/2014/main" id="{A615D871-29A5-36F2-2A07-B336783B18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0064" t="9202" r="28953" b="55493"/>
            <a:stretch/>
          </p:blipFill>
          <p:spPr>
            <a:xfrm>
              <a:off x="5410955" y="5472504"/>
              <a:ext cx="2078373" cy="1007139"/>
            </a:xfrm>
            <a:prstGeom prst="rect">
              <a:avLst/>
            </a:prstGeom>
          </p:spPr>
        </p:pic>
      </p:grpSp>
      <p:grpSp>
        <p:nvGrpSpPr>
          <p:cNvPr id="10" name="Groep 2">
            <a:extLst>
              <a:ext uri="{FF2B5EF4-FFF2-40B4-BE49-F238E27FC236}">
                <a16:creationId xmlns:a16="http://schemas.microsoft.com/office/drawing/2014/main" id="{7DAA128E-D91D-FD58-2B28-D25885CF00BA}"/>
              </a:ext>
            </a:extLst>
          </p:cNvPr>
          <p:cNvGrpSpPr/>
          <p:nvPr/>
        </p:nvGrpSpPr>
        <p:grpSpPr>
          <a:xfrm>
            <a:off x="4763750" y="3329304"/>
            <a:ext cx="3220386" cy="1990168"/>
            <a:chOff x="4687550" y="3329304"/>
            <a:chExt cx="3220386" cy="1990168"/>
          </a:xfrm>
        </p:grpSpPr>
        <p:pic>
          <p:nvPicPr>
            <p:cNvPr id="12" name="Picture 7">
              <a:extLst>
                <a:ext uri="{FF2B5EF4-FFF2-40B4-BE49-F238E27FC236}">
                  <a16:creationId xmlns:a16="http://schemas.microsoft.com/office/drawing/2014/main" id="{4EBC6332-DA0E-5F5F-6CBF-60CDFB152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302659" y="2714195"/>
              <a:ext cx="1990168" cy="3220386"/>
            </a:xfrm>
            <a:prstGeom prst="rect">
              <a:avLst/>
            </a:prstGeom>
          </p:spPr>
        </p:pic>
        <p:pic>
          <p:nvPicPr>
            <p:cNvPr id="13" name="Afbeelding 58">
              <a:extLst>
                <a:ext uri="{FF2B5EF4-FFF2-40B4-BE49-F238E27FC236}">
                  <a16:creationId xmlns:a16="http://schemas.microsoft.com/office/drawing/2014/main" id="{B7591C6B-C54E-AA3A-A05C-550442D4588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10956" y="3699576"/>
              <a:ext cx="2078373" cy="1169085"/>
            </a:xfrm>
            <a:prstGeom prst="rect">
              <a:avLst/>
            </a:prstGeom>
          </p:spPr>
        </p:pic>
      </p:grpSp>
      <p:sp>
        <p:nvSpPr>
          <p:cNvPr id="14" name="Titel 2">
            <a:extLst>
              <a:ext uri="{FF2B5EF4-FFF2-40B4-BE49-F238E27FC236}">
                <a16:creationId xmlns:a16="http://schemas.microsoft.com/office/drawing/2014/main" id="{8BAFDF5B-359D-3802-81A0-4D994EEC0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en-GB" b="1" dirty="0">
                <a:latin typeface="+mn-lt"/>
              </a:rPr>
              <a:t>Predictors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43FF3755-CD51-2D52-5499-4317C3067425}"/>
              </a:ext>
            </a:extLst>
          </p:cNvPr>
          <p:cNvGraphicFramePr/>
          <p:nvPr/>
        </p:nvGraphicFramePr>
        <p:xfrm>
          <a:off x="1268886" y="2537732"/>
          <a:ext cx="3418664" cy="2934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16" name="Groep 16">
            <a:extLst>
              <a:ext uri="{FF2B5EF4-FFF2-40B4-BE49-F238E27FC236}">
                <a16:creationId xmlns:a16="http://schemas.microsoft.com/office/drawing/2014/main" id="{C61D5213-72B2-89F0-FB8A-D194DB104815}"/>
              </a:ext>
            </a:extLst>
          </p:cNvPr>
          <p:cNvGrpSpPr/>
          <p:nvPr/>
        </p:nvGrpSpPr>
        <p:grpSpPr>
          <a:xfrm>
            <a:off x="8154718" y="2130403"/>
            <a:ext cx="3624876" cy="2597194"/>
            <a:chOff x="7744967" y="376739"/>
            <a:chExt cx="4325115" cy="2934770"/>
          </a:xfrm>
        </p:grpSpPr>
        <p:pic>
          <p:nvPicPr>
            <p:cNvPr id="17" name="Picture 7">
              <a:extLst>
                <a:ext uri="{FF2B5EF4-FFF2-40B4-BE49-F238E27FC236}">
                  <a16:creationId xmlns:a16="http://schemas.microsoft.com/office/drawing/2014/main" id="{B534921B-6FC8-E463-DC08-E7E5DAE62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8440140" y="-318434"/>
              <a:ext cx="2934770" cy="4325115"/>
            </a:xfrm>
            <a:prstGeom prst="rect">
              <a:avLst/>
            </a:prstGeom>
          </p:spPr>
        </p:pic>
        <p:pic>
          <p:nvPicPr>
            <p:cNvPr id="18" name="Afbeelding 18">
              <a:extLst>
                <a:ext uri="{FF2B5EF4-FFF2-40B4-BE49-F238E27FC236}">
                  <a16:creationId xmlns:a16="http://schemas.microsoft.com/office/drawing/2014/main" id="{243D443D-823B-B261-2BE5-DA9A9AF74B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11421" t="18245" r="10626" b="26033"/>
            <a:stretch/>
          </p:blipFill>
          <p:spPr>
            <a:xfrm>
              <a:off x="8742952" y="927443"/>
              <a:ext cx="2728468" cy="1757082"/>
            </a:xfrm>
            <a:prstGeom prst="rect">
              <a:avLst/>
            </a:prstGeom>
          </p:spPr>
        </p:pic>
      </p:grpSp>
      <p:pic>
        <p:nvPicPr>
          <p:cNvPr id="19" name="Picture 2" descr="Home">
            <a:extLst>
              <a:ext uri="{FF2B5EF4-FFF2-40B4-BE49-F238E27FC236}">
                <a16:creationId xmlns:a16="http://schemas.microsoft.com/office/drawing/2014/main" id="{0718527B-8057-8E38-8F6D-D72F951EF8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4912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3">
            <a:extLst>
              <a:ext uri="{FF2B5EF4-FFF2-40B4-BE49-F238E27FC236}">
                <a16:creationId xmlns:a16="http://schemas.microsoft.com/office/drawing/2014/main" id="{C2E47F63-64CD-59C7-87E5-6B6797526808}"/>
              </a:ext>
            </a:extLst>
          </p:cNvPr>
          <p:cNvGrpSpPr/>
          <p:nvPr/>
        </p:nvGrpSpPr>
        <p:grpSpPr>
          <a:xfrm>
            <a:off x="6232318" y="1870772"/>
            <a:ext cx="5544000" cy="3816000"/>
            <a:chOff x="3105150" y="459164"/>
            <a:chExt cx="8458200" cy="5560636"/>
          </a:xfrm>
        </p:grpSpPr>
        <p:pic>
          <p:nvPicPr>
            <p:cNvPr id="4" name="Afbeelding 4" descr="Afbeelding met tekst, monitor, elektronica, scherm&#10;&#10;Automatisch gegenereerde beschrijving">
              <a:extLst>
                <a:ext uri="{FF2B5EF4-FFF2-40B4-BE49-F238E27FC236}">
                  <a16:creationId xmlns:a16="http://schemas.microsoft.com/office/drawing/2014/main" id="{E58C3236-B169-2DC3-98C8-B6A372C6F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05150" y="459164"/>
              <a:ext cx="8458200" cy="5560636"/>
            </a:xfrm>
            <a:prstGeom prst="rect">
              <a:avLst/>
            </a:prstGeom>
          </p:spPr>
        </p:pic>
        <p:pic>
          <p:nvPicPr>
            <p:cNvPr id="5" name="Afbeelding 5">
              <a:extLst>
                <a:ext uri="{FF2B5EF4-FFF2-40B4-BE49-F238E27FC236}">
                  <a16:creationId xmlns:a16="http://schemas.microsoft.com/office/drawing/2014/main" id="{377D90F0-DC5E-37B6-BAEA-34B6F90C4E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7890" t="10139" r="1953" b="4549"/>
            <a:stretch/>
          </p:blipFill>
          <p:spPr>
            <a:xfrm>
              <a:off x="4124324" y="942975"/>
              <a:ext cx="6695181" cy="4600575"/>
            </a:xfrm>
            <a:prstGeom prst="rect">
              <a:avLst/>
            </a:prstGeom>
          </p:spPr>
        </p:pic>
        <p:sp>
          <p:nvSpPr>
            <p:cNvPr id="6" name="Rechthoek 6">
              <a:extLst>
                <a:ext uri="{FF2B5EF4-FFF2-40B4-BE49-F238E27FC236}">
                  <a16:creationId xmlns:a16="http://schemas.microsoft.com/office/drawing/2014/main" id="{EB9FB300-9E98-F3D3-001B-6C9E4931410E}"/>
                </a:ext>
              </a:extLst>
            </p:cNvPr>
            <p:cNvSpPr/>
            <p:nvPr/>
          </p:nvSpPr>
          <p:spPr>
            <a:xfrm>
              <a:off x="6011333" y="2988733"/>
              <a:ext cx="1375834" cy="330200"/>
            </a:xfrm>
            <a:prstGeom prst="rect">
              <a:avLst/>
            </a:prstGeom>
            <a:solidFill>
              <a:srgbClr val="1015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  <p:pic>
          <p:nvPicPr>
            <p:cNvPr id="7" name="Afbeelding 7">
              <a:extLst>
                <a:ext uri="{FF2B5EF4-FFF2-40B4-BE49-F238E27FC236}">
                  <a16:creationId xmlns:a16="http://schemas.microsoft.com/office/drawing/2014/main" id="{D40CE912-4226-C176-7594-4568131E51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8802" t="47231" r="29084" b="48736"/>
            <a:stretch/>
          </p:blipFill>
          <p:spPr>
            <a:xfrm>
              <a:off x="5949420" y="3105150"/>
              <a:ext cx="352425" cy="236009"/>
            </a:xfrm>
            <a:prstGeom prst="rect">
              <a:avLst/>
            </a:prstGeom>
          </p:spPr>
        </p:pic>
      </p:grpSp>
      <p:grpSp>
        <p:nvGrpSpPr>
          <p:cNvPr id="8" name="Groep 8">
            <a:extLst>
              <a:ext uri="{FF2B5EF4-FFF2-40B4-BE49-F238E27FC236}">
                <a16:creationId xmlns:a16="http://schemas.microsoft.com/office/drawing/2014/main" id="{1BE579A3-7F16-DA50-011C-24EBBDE443C5}"/>
              </a:ext>
            </a:extLst>
          </p:cNvPr>
          <p:cNvGrpSpPr/>
          <p:nvPr/>
        </p:nvGrpSpPr>
        <p:grpSpPr>
          <a:xfrm>
            <a:off x="319605" y="847455"/>
            <a:ext cx="5640079" cy="3723856"/>
            <a:chOff x="200088" y="3101646"/>
            <a:chExt cx="5640079" cy="3723856"/>
          </a:xfrm>
        </p:grpSpPr>
        <p:grpSp>
          <p:nvGrpSpPr>
            <p:cNvPr id="9" name="Groep 9">
              <a:extLst>
                <a:ext uri="{FF2B5EF4-FFF2-40B4-BE49-F238E27FC236}">
                  <a16:creationId xmlns:a16="http://schemas.microsoft.com/office/drawing/2014/main" id="{6F12C220-6619-A73F-88B9-D6975132EB81}"/>
                </a:ext>
              </a:extLst>
            </p:cNvPr>
            <p:cNvGrpSpPr/>
            <p:nvPr/>
          </p:nvGrpSpPr>
          <p:grpSpPr>
            <a:xfrm>
              <a:off x="200088" y="3101646"/>
              <a:ext cx="5640079" cy="3723856"/>
              <a:chOff x="3105150" y="459164"/>
              <a:chExt cx="8458200" cy="5589211"/>
            </a:xfrm>
          </p:grpSpPr>
          <p:pic>
            <p:nvPicPr>
              <p:cNvPr id="12" name="Afbeelding 11" descr="Afbeelding met tekst, monitor, elektronica, scherm&#10;&#10;Automatisch gegenereerde beschrijving">
                <a:extLst>
                  <a:ext uri="{FF2B5EF4-FFF2-40B4-BE49-F238E27FC236}">
                    <a16:creationId xmlns:a16="http://schemas.microsoft.com/office/drawing/2014/main" id="{E6376B18-E471-DEBF-F279-A2839AD810D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150" y="459164"/>
                <a:ext cx="8458200" cy="5589211"/>
              </a:xfrm>
              <a:prstGeom prst="rect">
                <a:avLst/>
              </a:prstGeom>
            </p:spPr>
          </p:pic>
          <p:pic>
            <p:nvPicPr>
              <p:cNvPr id="13" name="Afbeelding 12">
                <a:extLst>
                  <a:ext uri="{FF2B5EF4-FFF2-40B4-BE49-F238E27FC236}">
                    <a16:creationId xmlns:a16="http://schemas.microsoft.com/office/drawing/2014/main" id="{34F15660-5351-7D6B-0BEB-DFA2AA2CE75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57813" t="10382" r="2187" b="4549"/>
              <a:stretch/>
            </p:blipFill>
            <p:spPr>
              <a:xfrm>
                <a:off x="4095749" y="923924"/>
                <a:ext cx="6771785" cy="4629151"/>
              </a:xfrm>
              <a:prstGeom prst="rect">
                <a:avLst/>
              </a:prstGeom>
            </p:spPr>
          </p:pic>
        </p:grpSp>
        <p:sp>
          <p:nvSpPr>
            <p:cNvPr id="10" name="Rechthoek 10">
              <a:extLst>
                <a:ext uri="{FF2B5EF4-FFF2-40B4-BE49-F238E27FC236}">
                  <a16:creationId xmlns:a16="http://schemas.microsoft.com/office/drawing/2014/main" id="{BA85FE3A-BEB2-18D7-CF47-786D62EAD225}"/>
                </a:ext>
              </a:extLst>
            </p:cNvPr>
            <p:cNvSpPr/>
            <p:nvPr/>
          </p:nvSpPr>
          <p:spPr>
            <a:xfrm>
              <a:off x="3108532" y="3621564"/>
              <a:ext cx="1077951" cy="287701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Source Sans Pro"/>
                <a:ea typeface="+mn-ea"/>
                <a:cs typeface="+mn-cs"/>
              </a:endParaRPr>
            </a:p>
          </p:txBody>
        </p:sp>
      </p:grpSp>
      <p:pic>
        <p:nvPicPr>
          <p:cNvPr id="14" name="Picture 2" descr="Home">
            <a:extLst>
              <a:ext uri="{FF2B5EF4-FFF2-40B4-BE49-F238E27FC236}">
                <a16:creationId xmlns:a16="http://schemas.microsoft.com/office/drawing/2014/main" id="{BF5E8BED-6D08-5CF9-C8BB-7AC591939F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1621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6"/>
          <p:cNvSpPr txBox="1"/>
          <p:nvPr/>
        </p:nvSpPr>
        <p:spPr>
          <a:xfrm>
            <a:off x="864394" y="352709"/>
            <a:ext cx="1047988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latin typeface="+mj-lt"/>
              </a:rPr>
              <a:t>Mismatches on the </a:t>
            </a:r>
            <a:r>
              <a:rPr lang="en-US" sz="3600" b="1" dirty="0" err="1">
                <a:latin typeface="+mj-lt"/>
              </a:rPr>
              <a:t>labour</a:t>
            </a:r>
            <a:r>
              <a:rPr lang="en-US" sz="3600" b="1" dirty="0">
                <a:latin typeface="+mj-lt"/>
              </a:rPr>
              <a:t> market: caused by a lack of </a:t>
            </a:r>
            <a:r>
              <a:rPr lang="en-US" sz="3600" b="1" dirty="0" err="1">
                <a:latin typeface="+mj-lt"/>
              </a:rPr>
              <a:t>transparancy</a:t>
            </a:r>
            <a:endParaRPr kumimoji="0" lang="id-ID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AEFA3F-2C37-DDFE-0E19-AE3C9C5679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4219" y="1895126"/>
            <a:ext cx="6803561" cy="4521388"/>
          </a:xfrm>
          <a:prstGeom prst="rect">
            <a:avLst/>
          </a:prstGeom>
        </p:spPr>
      </p:pic>
      <p:pic>
        <p:nvPicPr>
          <p:cNvPr id="5" name="Picture 2" descr="Home">
            <a:extLst>
              <a:ext uri="{FF2B5EF4-FFF2-40B4-BE49-F238E27FC236}">
                <a16:creationId xmlns:a16="http://schemas.microsoft.com/office/drawing/2014/main" id="{7B7D9235-86EC-1D7D-B1F3-9D1D369C4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62490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6">
            <a:extLst>
              <a:ext uri="{FF2B5EF4-FFF2-40B4-BE49-F238E27FC236}">
                <a16:creationId xmlns:a16="http://schemas.microsoft.com/office/drawing/2014/main" id="{A4ECD413-C9A6-4110-B192-D69DD8F1D53C}"/>
              </a:ext>
            </a:extLst>
          </p:cNvPr>
          <p:cNvSpPr txBox="1"/>
          <p:nvPr/>
        </p:nvSpPr>
        <p:spPr>
          <a:xfrm>
            <a:off x="820090" y="441486"/>
            <a:ext cx="11462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A skill-based economy as part of the solution</a:t>
            </a:r>
          </a:p>
        </p:txBody>
      </p:sp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9DB712B2-F3CA-CAFE-4705-8A18DAA030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1474915" y="2235604"/>
            <a:ext cx="9242169" cy="2807884"/>
          </a:xfrm>
          <a:prstGeom prst="rect">
            <a:avLst/>
          </a:prstGeom>
        </p:spPr>
      </p:pic>
      <p:pic>
        <p:nvPicPr>
          <p:cNvPr id="4" name="Picture 2" descr="Home">
            <a:extLst>
              <a:ext uri="{FF2B5EF4-FFF2-40B4-BE49-F238E27FC236}">
                <a16:creationId xmlns:a16="http://schemas.microsoft.com/office/drawing/2014/main" id="{CF61F5B5-25E8-BFC7-3304-A470D15B6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1847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6">
            <a:extLst>
              <a:ext uri="{FF2B5EF4-FFF2-40B4-BE49-F238E27FC236}">
                <a16:creationId xmlns:a16="http://schemas.microsoft.com/office/drawing/2014/main" id="{A4ECD413-C9A6-4110-B192-D69DD8F1D53C}"/>
              </a:ext>
            </a:extLst>
          </p:cNvPr>
          <p:cNvSpPr txBox="1"/>
          <p:nvPr/>
        </p:nvSpPr>
        <p:spPr>
          <a:xfrm>
            <a:off x="820090" y="441486"/>
            <a:ext cx="11462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Passport for Work: A 3-year urban innovation projec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72A74F1-D7EA-9ED4-43F3-545F97B157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583" y="1363026"/>
            <a:ext cx="4416340" cy="5608051"/>
          </a:xfrm>
          <a:prstGeom prst="rect">
            <a:avLst/>
          </a:prstGeom>
        </p:spPr>
      </p:pic>
      <p:pic>
        <p:nvPicPr>
          <p:cNvPr id="21" name="Tijdelijke aanduiding voor afbeelding 56">
            <a:extLst>
              <a:ext uri="{FF2B5EF4-FFF2-40B4-BE49-F238E27FC236}">
                <a16:creationId xmlns:a16="http://schemas.microsoft.com/office/drawing/2014/main" id="{520A6A34-5D4E-2261-5392-09629CBBF88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6" r="2036"/>
          <a:stretch>
            <a:fillRect/>
          </a:stretch>
        </p:blipFill>
        <p:spPr>
          <a:xfrm>
            <a:off x="5050573" y="2195374"/>
            <a:ext cx="2691686" cy="3565795"/>
          </a:xfrm>
          <a:prstGeom prst="rect">
            <a:avLst/>
          </a:prstGeom>
        </p:spPr>
      </p:pic>
      <p:pic>
        <p:nvPicPr>
          <p:cNvPr id="22" name="promo UIA" descr="promo UIA">
            <a:hlinkClick r:id="" action="ppaction://media"/>
            <a:extLst>
              <a:ext uri="{FF2B5EF4-FFF2-40B4-BE49-F238E27FC236}">
                <a16:creationId xmlns:a16="http://schemas.microsoft.com/office/drawing/2014/main" id="{4826ABBF-153A-81A7-3E95-1456F969E00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050573" y="2195374"/>
            <a:ext cx="2691686" cy="1133751"/>
          </a:xfrm>
          <a:prstGeom prst="rect">
            <a:avLst/>
          </a:prstGeom>
        </p:spPr>
      </p:pic>
      <p:pic>
        <p:nvPicPr>
          <p:cNvPr id="6" name="Picture 2" descr="Home">
            <a:extLst>
              <a:ext uri="{FF2B5EF4-FFF2-40B4-BE49-F238E27FC236}">
                <a16:creationId xmlns:a16="http://schemas.microsoft.com/office/drawing/2014/main" id="{037548F3-B7B2-A511-C3DA-8C300601C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2144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755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22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6">
            <a:extLst>
              <a:ext uri="{FF2B5EF4-FFF2-40B4-BE49-F238E27FC236}">
                <a16:creationId xmlns:a16="http://schemas.microsoft.com/office/drawing/2014/main" id="{A4ECD413-C9A6-4110-B192-D69DD8F1D53C}"/>
              </a:ext>
            </a:extLst>
          </p:cNvPr>
          <p:cNvSpPr txBox="1"/>
          <p:nvPr/>
        </p:nvSpPr>
        <p:spPr>
          <a:xfrm>
            <a:off x="820090" y="441486"/>
            <a:ext cx="114622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/>
              <a:t>Three key features of the project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7C309FD9-D3EE-1999-BAC7-CABB31205D13}"/>
              </a:ext>
            </a:extLst>
          </p:cNvPr>
          <p:cNvSpPr txBox="1">
            <a:spLocks/>
          </p:cNvSpPr>
          <p:nvPr/>
        </p:nvSpPr>
        <p:spPr>
          <a:xfrm>
            <a:off x="752584" y="1960888"/>
            <a:ext cx="2890728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Towards a Dutch national skills languag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CD5FBE56-1429-9C63-8F59-24725AA27ED4}"/>
              </a:ext>
            </a:extLst>
          </p:cNvPr>
          <p:cNvSpPr txBox="1">
            <a:spLocks/>
          </p:cNvSpPr>
          <p:nvPr/>
        </p:nvSpPr>
        <p:spPr>
          <a:xfrm>
            <a:off x="4217083" y="1960888"/>
            <a:ext cx="2890728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Gamified assessmen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F61BA37D-6BC6-FDAB-C8C8-AD8737E5946F}"/>
              </a:ext>
            </a:extLst>
          </p:cNvPr>
          <p:cNvSpPr txBox="1">
            <a:spLocks/>
          </p:cNvSpPr>
          <p:nvPr/>
        </p:nvSpPr>
        <p:spPr>
          <a:xfrm>
            <a:off x="7747844" y="1960888"/>
            <a:ext cx="4444156" cy="33206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</a:t>
            </a:r>
            <a:r>
              <a:rPr lang="en-US" sz="2200" dirty="0">
                <a:latin typeface="Calibri" panose="020F0502020204030204"/>
              </a:rPr>
              <a:t>Bias-free, skill-based hiring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Tijdelijke aanduiding voor afbeelding 27">
            <a:extLst>
              <a:ext uri="{FF2B5EF4-FFF2-40B4-BE49-F238E27FC236}">
                <a16:creationId xmlns:a16="http://schemas.microsoft.com/office/drawing/2014/main" id="{4ED40CAF-480D-1AF4-CAF5-1DD2F5BE59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4" r="14074"/>
          <a:stretch>
            <a:fillRect/>
          </a:stretch>
        </p:blipFill>
        <p:spPr>
          <a:xfrm>
            <a:off x="974306" y="2836418"/>
            <a:ext cx="2149919" cy="2149919"/>
          </a:xfrm>
          <a:prstGeom prst="ellipse">
            <a:avLst/>
          </a:prstGeom>
        </p:spPr>
      </p:pic>
      <p:pic>
        <p:nvPicPr>
          <p:cNvPr id="14" name="Afbeelding 6">
            <a:extLst>
              <a:ext uri="{FF2B5EF4-FFF2-40B4-BE49-F238E27FC236}">
                <a16:creationId xmlns:a16="http://schemas.microsoft.com/office/drawing/2014/main" id="{7B6BEB4D-A756-7420-64F7-4C61603775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203" t="12089" r="22500" b="15243"/>
          <a:stretch/>
        </p:blipFill>
        <p:spPr>
          <a:xfrm>
            <a:off x="4179098" y="2614961"/>
            <a:ext cx="1501196" cy="2452579"/>
          </a:xfrm>
          <a:prstGeom prst="rect">
            <a:avLst/>
          </a:prstGeom>
        </p:spPr>
      </p:pic>
      <p:pic>
        <p:nvPicPr>
          <p:cNvPr id="15" name="Afbeelding 3">
            <a:extLst>
              <a:ext uri="{FF2B5EF4-FFF2-40B4-BE49-F238E27FC236}">
                <a16:creationId xmlns:a16="http://schemas.microsoft.com/office/drawing/2014/main" id="{A39002F6-C4AB-744A-F844-1F208D3433F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3144" t="10680" r="22559" b="14097"/>
          <a:stretch/>
        </p:blipFill>
        <p:spPr>
          <a:xfrm>
            <a:off x="5748599" y="2609590"/>
            <a:ext cx="1489785" cy="2455329"/>
          </a:xfrm>
          <a:prstGeom prst="rect">
            <a:avLst/>
          </a:prstGeom>
        </p:spPr>
      </p:pic>
      <p:pic>
        <p:nvPicPr>
          <p:cNvPr id="16" name="Afbeelding 11">
            <a:extLst>
              <a:ext uri="{FF2B5EF4-FFF2-40B4-BE49-F238E27FC236}">
                <a16:creationId xmlns:a16="http://schemas.microsoft.com/office/drawing/2014/main" id="{D9AE9D85-8E64-409E-EAA0-4C55ACEDB14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5625" t="27683" r="13047" b="13784"/>
          <a:stretch/>
        </p:blipFill>
        <p:spPr>
          <a:xfrm>
            <a:off x="8060160" y="2609590"/>
            <a:ext cx="2841202" cy="2506265"/>
          </a:xfrm>
          <a:prstGeom prst="rect">
            <a:avLst/>
          </a:prstGeom>
        </p:spPr>
      </p:pic>
      <p:sp>
        <p:nvSpPr>
          <p:cNvPr id="18" name="Tekstvak 9">
            <a:extLst>
              <a:ext uri="{FF2B5EF4-FFF2-40B4-BE49-F238E27FC236}">
                <a16:creationId xmlns:a16="http://schemas.microsoft.com/office/drawing/2014/main" id="{77F9B6A9-9871-57B7-7B35-B27A18F20608}"/>
              </a:ext>
            </a:extLst>
          </p:cNvPr>
          <p:cNvSpPr txBox="1"/>
          <p:nvPr/>
        </p:nvSpPr>
        <p:spPr>
          <a:xfrm>
            <a:off x="6157251" y="6017760"/>
            <a:ext cx="4305300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3B3B4"/>
                </a:solidFill>
                <a:effectLst/>
                <a:uLnTx/>
                <a:uFillTx/>
                <a:latin typeface="Karbon"/>
                <a:ea typeface="+mn-ea"/>
                <a:cs typeface="+mn-cs"/>
              </a:rPr>
              <a:t>This project is co-financed by the European Regional Developm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B3B3B4"/>
                </a:solidFill>
                <a:effectLst/>
                <a:uLnTx/>
                <a:uFillTx/>
                <a:latin typeface="Karbon"/>
                <a:ea typeface="+mn-ea"/>
                <a:cs typeface="+mn-cs"/>
              </a:rPr>
              <a:t>Fund through the Urban innovative Action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B3B3B4"/>
                </a:solidFill>
                <a:effectLst/>
                <a:uLnTx/>
                <a:uFillTx/>
                <a:latin typeface="Karbon"/>
                <a:ea typeface="+mn-ea"/>
                <a:cs typeface="+mn-cs"/>
              </a:rPr>
              <a:t>Initiative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19" name="Picture 4" descr="Logo-EU-eu-logo - DiSSCo">
            <a:extLst>
              <a:ext uri="{FF2B5EF4-FFF2-40B4-BE49-F238E27FC236}">
                <a16:creationId xmlns:a16="http://schemas.microsoft.com/office/drawing/2014/main" id="{90A63B55-7A3B-8BE2-FD22-BC083BA60B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1819" y="5713915"/>
            <a:ext cx="1476645" cy="970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ome">
            <a:extLst>
              <a:ext uri="{FF2B5EF4-FFF2-40B4-BE49-F238E27FC236}">
                <a16:creationId xmlns:a16="http://schemas.microsoft.com/office/drawing/2014/main" id="{532900B8-5DE7-3A1F-EF48-EF68974A83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84733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, text, application&#10;&#10;Description automatically generated">
            <a:extLst>
              <a:ext uri="{FF2B5EF4-FFF2-40B4-BE49-F238E27FC236}">
                <a16:creationId xmlns:a16="http://schemas.microsoft.com/office/drawing/2014/main" id="{921305CA-8C19-B948-CBCB-5AFB94C04F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7254" y="560715"/>
            <a:ext cx="9181405" cy="5227690"/>
          </a:xfrm>
          <a:prstGeom prst="rect">
            <a:avLst/>
          </a:prstGeom>
        </p:spPr>
      </p:pic>
      <p:pic>
        <p:nvPicPr>
          <p:cNvPr id="3" name="Picture 2" descr="Home">
            <a:extLst>
              <a:ext uri="{FF2B5EF4-FFF2-40B4-BE49-F238E27FC236}">
                <a16:creationId xmlns:a16="http://schemas.microsoft.com/office/drawing/2014/main" id="{8626E877-7DEF-477A-2A42-E31D6C275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al 1">
            <a:extLst>
              <a:ext uri="{FF2B5EF4-FFF2-40B4-BE49-F238E27FC236}">
                <a16:creationId xmlns:a16="http://schemas.microsoft.com/office/drawing/2014/main" id="{BB2C0C00-970E-C379-A36A-FBDDE06F4E30}"/>
              </a:ext>
            </a:extLst>
          </p:cNvPr>
          <p:cNvSpPr/>
          <p:nvPr/>
        </p:nvSpPr>
        <p:spPr>
          <a:xfrm>
            <a:off x="7982523" y="1356287"/>
            <a:ext cx="1054404" cy="45063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al 4">
            <a:extLst>
              <a:ext uri="{FF2B5EF4-FFF2-40B4-BE49-F238E27FC236}">
                <a16:creationId xmlns:a16="http://schemas.microsoft.com/office/drawing/2014/main" id="{2728C244-FAF8-EDD0-E5D0-E63F1E63649A}"/>
              </a:ext>
            </a:extLst>
          </p:cNvPr>
          <p:cNvSpPr/>
          <p:nvPr/>
        </p:nvSpPr>
        <p:spPr>
          <a:xfrm>
            <a:off x="9250579" y="3888752"/>
            <a:ext cx="1054404" cy="45063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al 5">
            <a:extLst>
              <a:ext uri="{FF2B5EF4-FFF2-40B4-BE49-F238E27FC236}">
                <a16:creationId xmlns:a16="http://schemas.microsoft.com/office/drawing/2014/main" id="{6614C064-C406-C964-D2CB-B56D058A828C}"/>
              </a:ext>
            </a:extLst>
          </p:cNvPr>
          <p:cNvSpPr/>
          <p:nvPr/>
        </p:nvSpPr>
        <p:spPr>
          <a:xfrm>
            <a:off x="7696683" y="5191808"/>
            <a:ext cx="1054404" cy="45063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al 6">
            <a:extLst>
              <a:ext uri="{FF2B5EF4-FFF2-40B4-BE49-F238E27FC236}">
                <a16:creationId xmlns:a16="http://schemas.microsoft.com/office/drawing/2014/main" id="{7E87ADDA-913D-53C9-E563-7E8174AB0F3B}"/>
              </a:ext>
            </a:extLst>
          </p:cNvPr>
          <p:cNvSpPr/>
          <p:nvPr/>
        </p:nvSpPr>
        <p:spPr>
          <a:xfrm>
            <a:off x="9250579" y="2590253"/>
            <a:ext cx="1224167" cy="757990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475DB81D-F0EE-2779-A1C6-EC98F9DB8ED8}"/>
              </a:ext>
            </a:extLst>
          </p:cNvPr>
          <p:cNvSpPr/>
          <p:nvPr/>
        </p:nvSpPr>
        <p:spPr>
          <a:xfrm>
            <a:off x="6468989" y="1412616"/>
            <a:ext cx="1227694" cy="582438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888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6" grpId="0" animBg="1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9058BACC-68ED-325D-ADFB-321C07AD8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pPr algn="ctr"/>
            <a:r>
              <a:rPr lang="en-GB" sz="3200" b="1" dirty="0"/>
              <a:t>SKILL</a:t>
            </a:r>
            <a:r>
              <a:rPr lang="en-GB" sz="3200" dirty="0"/>
              <a:t> = Expertise * Behavioural Repertoi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591BDCA2-83F7-083E-8E64-00B6E99A9439}"/>
              </a:ext>
            </a:extLst>
          </p:cNvPr>
          <p:cNvSpPr txBox="1">
            <a:spLocks/>
          </p:cNvSpPr>
          <p:nvPr/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xpertise</a:t>
            </a:r>
            <a:endParaRPr kumimoji="0" lang="nl-NL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" name="Tijdelijke aanduiding voor inhoud 3">
            <a:extLst>
              <a:ext uri="{FF2B5EF4-FFF2-40B4-BE49-F238E27FC236}">
                <a16:creationId xmlns:a16="http://schemas.microsoft.com/office/drawing/2014/main" id="{7A4D0AE0-A001-2118-90D7-E8211E164CAA}"/>
              </a:ext>
            </a:extLst>
          </p:cNvPr>
          <p:cNvSpPr txBox="1">
            <a:spLocks/>
          </p:cNvSpPr>
          <p:nvPr/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Knowledge, Experience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nd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sight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vailable that is necessary or useful given the fixed characteristics of a problem or task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7" name="Tijdelijke aanduiding voor tekst 4">
            <a:extLst>
              <a:ext uri="{FF2B5EF4-FFF2-40B4-BE49-F238E27FC236}">
                <a16:creationId xmlns:a16="http://schemas.microsoft.com/office/drawing/2014/main" id="{D46241E1-9F22-3106-9B91-606F8E3777C5}"/>
              </a:ext>
            </a:extLst>
          </p:cNvPr>
          <p:cNvSpPr txBox="1">
            <a:spLocks/>
          </p:cNvSpPr>
          <p:nvPr/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ehavioural repertoire</a:t>
            </a:r>
            <a:endParaRPr kumimoji="0" lang="nl-NL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79741A8-A408-B790-8604-B74210788311}"/>
              </a:ext>
            </a:extLst>
          </p:cNvPr>
          <p:cNvGraphicFramePr/>
          <p:nvPr/>
        </p:nvGraphicFramePr>
        <p:xfrm>
          <a:off x="4033348" y="3958169"/>
          <a:ext cx="3972905" cy="2437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ijdelijke aanduiding voor inhoud 5">
            <a:extLst>
              <a:ext uri="{FF2B5EF4-FFF2-40B4-BE49-F238E27FC236}">
                <a16:creationId xmlns:a16="http://schemas.microsoft.com/office/drawing/2014/main" id="{6EC71E24-D670-770F-A6C1-175D840C9FE0}"/>
              </a:ext>
            </a:extLst>
          </p:cNvPr>
          <p:cNvSpPr txBox="1">
            <a:spLocks/>
          </p:cNvSpPr>
          <p:nvPr/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Behaviou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,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ttention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and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Emotion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available that are necessary or useful given the changing circumstances in which a task must be performed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10" name="Picture 2" descr="Home">
            <a:extLst>
              <a:ext uri="{FF2B5EF4-FFF2-40B4-BE49-F238E27FC236}">
                <a16:creationId xmlns:a16="http://schemas.microsoft.com/office/drawing/2014/main" id="{6A36E2EE-49E1-AB88-E72C-9541B6CEE5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8639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EF9A862D-16B6-4CFE-13C8-BB94794F89A6}"/>
              </a:ext>
            </a:extLst>
          </p:cNvPr>
          <p:cNvGraphicFramePr/>
          <p:nvPr/>
        </p:nvGraphicFramePr>
        <p:xfrm>
          <a:off x="1627761" y="1041400"/>
          <a:ext cx="8936475" cy="55317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kstvak 2">
            <a:extLst>
              <a:ext uri="{FF2B5EF4-FFF2-40B4-BE49-F238E27FC236}">
                <a16:creationId xmlns:a16="http://schemas.microsoft.com/office/drawing/2014/main" id="{4D4D7CCE-CCA1-9CBF-CE13-B8E862B5CBB2}"/>
              </a:ext>
            </a:extLst>
          </p:cNvPr>
          <p:cNvSpPr txBox="1"/>
          <p:nvPr/>
        </p:nvSpPr>
        <p:spPr>
          <a:xfrm>
            <a:off x="4586251" y="2691297"/>
            <a:ext cx="3019494" cy="2232000"/>
          </a:xfrm>
          <a:prstGeom prst="ellipse">
            <a:avLst/>
          </a:prstGeom>
          <a:solidFill>
            <a:srgbClr val="002060">
              <a:alpha val="65098"/>
            </a:srgbClr>
          </a:solidFill>
          <a:ln>
            <a:solidFill>
              <a:schemeClr val="bg1"/>
            </a:solidFill>
          </a:ln>
        </p:spPr>
        <p:txBody>
          <a:bodyPr wrap="square" rtlCol="0" anchor="ctr" anchorCtr="1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2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viour</a:t>
            </a:r>
            <a:endParaRPr kumimoji="0" lang="nl-NL" sz="3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A266C-434B-CB8E-53A9-52739C3F50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400" dirty="0"/>
              <a:t>Behavioural Repertoire</a:t>
            </a:r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D8DD8E4-45C3-7336-A2C4-592962AF80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6" name="Picture 2" descr="Home">
            <a:extLst>
              <a:ext uri="{FF2B5EF4-FFF2-40B4-BE49-F238E27FC236}">
                <a16:creationId xmlns:a16="http://schemas.microsoft.com/office/drawing/2014/main" id="{1BF5B5D1-EBB2-598B-C4EA-9E8FA809B7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4236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7B8C497B-B161-4C6B-BE18-AAE3F9B1A23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graphicEl>
                                              <a:dgm id="{7B8C497B-B161-4C6B-BE18-AAE3F9B1A23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40617E42-BAF7-41B4-BD87-836058590EE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>
                                            <p:graphicEl>
                                              <a:dgm id="{40617E42-BAF7-41B4-BD87-836058590EE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graphicEl>
                                              <a:dgm id="{4AF0792A-AC3C-4C4F-9A66-CA33D95372A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>
                                            <p:graphicEl>
                                              <a:dgm id="{4AF0792A-AC3C-4C4F-9A66-CA33D95372A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 uiExpand="1">
        <p:bldSub>
          <a:bldDgm bld="one"/>
        </p:bldSub>
      </p:bldGraphic>
      <p:bldP spid="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12">
            <a:extLst>
              <a:ext uri="{FF2B5EF4-FFF2-40B4-BE49-F238E27FC236}">
                <a16:creationId xmlns:a16="http://schemas.microsoft.com/office/drawing/2014/main" id="{BDCD396F-3B7A-827F-3D24-76409AD81CA1}"/>
              </a:ext>
            </a:extLst>
          </p:cNvPr>
          <p:cNvSpPr txBox="1"/>
          <p:nvPr/>
        </p:nvSpPr>
        <p:spPr>
          <a:xfrm>
            <a:off x="974690" y="3225521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munication</a:t>
            </a:r>
          </a:p>
        </p:txBody>
      </p:sp>
      <p:sp>
        <p:nvSpPr>
          <p:cNvPr id="4" name="Tekstvak 14">
            <a:extLst>
              <a:ext uri="{FF2B5EF4-FFF2-40B4-BE49-F238E27FC236}">
                <a16:creationId xmlns:a16="http://schemas.microsoft.com/office/drawing/2014/main" id="{95B7001E-ACDF-8820-1E4F-A5508BF5D97E}"/>
              </a:ext>
            </a:extLst>
          </p:cNvPr>
          <p:cNvSpPr txBox="1"/>
          <p:nvPr/>
        </p:nvSpPr>
        <p:spPr>
          <a:xfrm>
            <a:off x="973123" y="5265925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ctive </a:t>
            </a: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istening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5" name="Tekstvak 17">
            <a:extLst>
              <a:ext uri="{FF2B5EF4-FFF2-40B4-BE49-F238E27FC236}">
                <a16:creationId xmlns:a16="http://schemas.microsoft.com/office/drawing/2014/main" id="{0B785231-B86D-8CCF-789B-D1CFB1238D5D}"/>
              </a:ext>
            </a:extLst>
          </p:cNvPr>
          <p:cNvSpPr txBox="1"/>
          <p:nvPr/>
        </p:nvSpPr>
        <p:spPr>
          <a:xfrm>
            <a:off x="974690" y="3906980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ciability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</a:p>
        </p:txBody>
      </p:sp>
      <p:sp>
        <p:nvSpPr>
          <p:cNvPr id="6" name="Tekstvak 30">
            <a:extLst>
              <a:ext uri="{FF2B5EF4-FFF2-40B4-BE49-F238E27FC236}">
                <a16:creationId xmlns:a16="http://schemas.microsoft.com/office/drawing/2014/main" id="{F5DEB21D-20BD-EC58-AD5C-781B058616B6}"/>
              </a:ext>
            </a:extLst>
          </p:cNvPr>
          <p:cNvSpPr txBox="1"/>
          <p:nvPr/>
        </p:nvSpPr>
        <p:spPr>
          <a:xfrm>
            <a:off x="4714490" y="80664"/>
            <a:ext cx="18927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Healthcare care</a:t>
            </a:r>
          </a:p>
        </p:txBody>
      </p:sp>
      <p:sp>
        <p:nvSpPr>
          <p:cNvPr id="7" name="Tekstvak 31">
            <a:extLst>
              <a:ext uri="{FF2B5EF4-FFF2-40B4-BE49-F238E27FC236}">
                <a16:creationId xmlns:a16="http://schemas.microsoft.com/office/drawing/2014/main" id="{84B8A045-4EF3-8B45-BBDA-BCECAAB6C236}"/>
              </a:ext>
            </a:extLst>
          </p:cNvPr>
          <p:cNvSpPr txBox="1"/>
          <p:nvPr/>
        </p:nvSpPr>
        <p:spPr>
          <a:xfrm>
            <a:off x="6664036" y="80664"/>
            <a:ext cx="24871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Technical </a:t>
            </a:r>
            <a:r>
              <a:rPr kumimoji="0" lang="nl-NL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industry</a:t>
            </a:r>
            <a:endParaRPr kumimoji="0" lang="nl-NL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8" name="Tekstvak 32">
            <a:extLst>
              <a:ext uri="{FF2B5EF4-FFF2-40B4-BE49-F238E27FC236}">
                <a16:creationId xmlns:a16="http://schemas.microsoft.com/office/drawing/2014/main" id="{3FE4F7D5-5DAB-3024-E3A1-2D3CB5B94CAF}"/>
              </a:ext>
            </a:extLst>
          </p:cNvPr>
          <p:cNvSpPr txBox="1"/>
          <p:nvPr/>
        </p:nvSpPr>
        <p:spPr>
          <a:xfrm>
            <a:off x="9445798" y="248863"/>
            <a:ext cx="2060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nstruction</a:t>
            </a:r>
          </a:p>
        </p:txBody>
      </p:sp>
      <p:sp>
        <p:nvSpPr>
          <p:cNvPr id="9" name="Tekstvak 34">
            <a:extLst>
              <a:ext uri="{FF2B5EF4-FFF2-40B4-BE49-F238E27FC236}">
                <a16:creationId xmlns:a16="http://schemas.microsoft.com/office/drawing/2014/main" id="{F21E4E08-3A74-D4DC-77AB-CA3A1B1BD26C}"/>
              </a:ext>
            </a:extLst>
          </p:cNvPr>
          <p:cNvSpPr txBox="1"/>
          <p:nvPr/>
        </p:nvSpPr>
        <p:spPr>
          <a:xfrm>
            <a:off x="4876625" y="3269149"/>
            <a:ext cx="1896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munication</a:t>
            </a:r>
          </a:p>
        </p:txBody>
      </p:sp>
      <p:sp>
        <p:nvSpPr>
          <p:cNvPr id="10" name="Tekstvak 35">
            <a:extLst>
              <a:ext uri="{FF2B5EF4-FFF2-40B4-BE49-F238E27FC236}">
                <a16:creationId xmlns:a16="http://schemas.microsoft.com/office/drawing/2014/main" id="{93F07436-7E49-E74B-1ABF-1A148FCC0CD6}"/>
              </a:ext>
            </a:extLst>
          </p:cNvPr>
          <p:cNvSpPr txBox="1"/>
          <p:nvPr/>
        </p:nvSpPr>
        <p:spPr>
          <a:xfrm>
            <a:off x="4926557" y="3981915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ciability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</a:p>
        </p:txBody>
      </p:sp>
      <p:sp>
        <p:nvSpPr>
          <p:cNvPr id="12" name="Tekstvak 36">
            <a:extLst>
              <a:ext uri="{FF2B5EF4-FFF2-40B4-BE49-F238E27FC236}">
                <a16:creationId xmlns:a16="http://schemas.microsoft.com/office/drawing/2014/main" id="{ADBB528C-D896-33DF-E8FF-4D6E59E714BD}"/>
              </a:ext>
            </a:extLst>
          </p:cNvPr>
          <p:cNvSpPr txBox="1"/>
          <p:nvPr/>
        </p:nvSpPr>
        <p:spPr>
          <a:xfrm>
            <a:off x="974690" y="4588439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llaboration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3" name="Tekstvak 39">
            <a:extLst>
              <a:ext uri="{FF2B5EF4-FFF2-40B4-BE49-F238E27FC236}">
                <a16:creationId xmlns:a16="http://schemas.microsoft.com/office/drawing/2014/main" id="{B4AB5924-8525-6AB9-4387-2B192529EDAA}"/>
              </a:ext>
            </a:extLst>
          </p:cNvPr>
          <p:cNvSpPr txBox="1"/>
          <p:nvPr/>
        </p:nvSpPr>
        <p:spPr>
          <a:xfrm>
            <a:off x="9646882" y="3981915"/>
            <a:ext cx="1792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C0392B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Sociability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C0392B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</a:p>
        </p:txBody>
      </p:sp>
      <p:sp>
        <p:nvSpPr>
          <p:cNvPr id="14" name="Tekstvak 41">
            <a:extLst>
              <a:ext uri="{FF2B5EF4-FFF2-40B4-BE49-F238E27FC236}">
                <a16:creationId xmlns:a16="http://schemas.microsoft.com/office/drawing/2014/main" id="{A0E95A76-FD8B-EAE3-D154-242CB80AEBEE}"/>
              </a:ext>
            </a:extLst>
          </p:cNvPr>
          <p:cNvSpPr txBox="1"/>
          <p:nvPr/>
        </p:nvSpPr>
        <p:spPr>
          <a:xfrm>
            <a:off x="6984491" y="5269897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39C12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ctive </a:t>
            </a: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39C12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istening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39C12">
                  <a:lumMod val="60000"/>
                  <a:lumOff val="40000"/>
                </a:srgbClr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15" name="Afbeelding 8">
            <a:extLst>
              <a:ext uri="{FF2B5EF4-FFF2-40B4-BE49-F238E27FC236}">
                <a16:creationId xmlns:a16="http://schemas.microsoft.com/office/drawing/2014/main" id="{734F5EFB-E96F-D43D-0AA9-D658F8CACC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51400" y="911660"/>
            <a:ext cx="1727187" cy="1287277"/>
          </a:xfrm>
          <a:prstGeom prst="rect">
            <a:avLst/>
          </a:prstGeom>
        </p:spPr>
      </p:pic>
      <p:sp>
        <p:nvSpPr>
          <p:cNvPr id="16" name="Tekstvak 42">
            <a:extLst>
              <a:ext uri="{FF2B5EF4-FFF2-40B4-BE49-F238E27FC236}">
                <a16:creationId xmlns:a16="http://schemas.microsoft.com/office/drawing/2014/main" id="{0FCC8686-637E-A866-27ED-F153BC0C897B}"/>
              </a:ext>
            </a:extLst>
          </p:cNvPr>
          <p:cNvSpPr txBox="1"/>
          <p:nvPr/>
        </p:nvSpPr>
        <p:spPr>
          <a:xfrm>
            <a:off x="4876625" y="4688891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llaboration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 </a:t>
            </a:r>
          </a:p>
        </p:txBody>
      </p:sp>
      <p:sp>
        <p:nvSpPr>
          <p:cNvPr id="17" name="Tekstvak 43">
            <a:extLst>
              <a:ext uri="{FF2B5EF4-FFF2-40B4-BE49-F238E27FC236}">
                <a16:creationId xmlns:a16="http://schemas.microsoft.com/office/drawing/2014/main" id="{E2E30836-E487-F684-2E31-E4E76DFA571B}"/>
              </a:ext>
            </a:extLst>
          </p:cNvPr>
          <p:cNvSpPr txBox="1"/>
          <p:nvPr/>
        </p:nvSpPr>
        <p:spPr>
          <a:xfrm>
            <a:off x="4887702" y="5225253"/>
            <a:ext cx="20467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ctive </a:t>
            </a: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listening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Tekstvak 44">
            <a:extLst>
              <a:ext uri="{FF2B5EF4-FFF2-40B4-BE49-F238E27FC236}">
                <a16:creationId xmlns:a16="http://schemas.microsoft.com/office/drawing/2014/main" id="{571EDDFB-C3B8-EB97-711C-B0C52C7799D8}"/>
              </a:ext>
            </a:extLst>
          </p:cNvPr>
          <p:cNvSpPr txBox="1"/>
          <p:nvPr/>
        </p:nvSpPr>
        <p:spPr>
          <a:xfrm>
            <a:off x="6984491" y="3246494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39C12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munication</a:t>
            </a:r>
          </a:p>
        </p:txBody>
      </p:sp>
      <p:sp>
        <p:nvSpPr>
          <p:cNvPr id="19" name="Tekstvak 45">
            <a:extLst>
              <a:ext uri="{FF2B5EF4-FFF2-40B4-BE49-F238E27FC236}">
                <a16:creationId xmlns:a16="http://schemas.microsoft.com/office/drawing/2014/main" id="{385DCDE6-AFF5-0133-1573-774E66274EE4}"/>
              </a:ext>
            </a:extLst>
          </p:cNvPr>
          <p:cNvSpPr txBox="1"/>
          <p:nvPr/>
        </p:nvSpPr>
        <p:spPr>
          <a:xfrm>
            <a:off x="6984491" y="4669421"/>
            <a:ext cx="28637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39C12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llaboration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39C12">
                  <a:lumMod val="60000"/>
                  <a:lumOff val="40000"/>
                </a:srgbClr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0" name="Tekstvak 46">
            <a:extLst>
              <a:ext uri="{FF2B5EF4-FFF2-40B4-BE49-F238E27FC236}">
                <a16:creationId xmlns:a16="http://schemas.microsoft.com/office/drawing/2014/main" id="{D0CE14AF-A02A-20EA-1292-132151D21646}"/>
              </a:ext>
            </a:extLst>
          </p:cNvPr>
          <p:cNvSpPr txBox="1"/>
          <p:nvPr/>
        </p:nvSpPr>
        <p:spPr>
          <a:xfrm>
            <a:off x="9626009" y="4686584"/>
            <a:ext cx="16632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C0392B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llaboration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C0392B">
                  <a:lumMod val="60000"/>
                  <a:lumOff val="40000"/>
                </a:srgbClr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1" name="Tekstvak 47">
            <a:extLst>
              <a:ext uri="{FF2B5EF4-FFF2-40B4-BE49-F238E27FC236}">
                <a16:creationId xmlns:a16="http://schemas.microsoft.com/office/drawing/2014/main" id="{4C84CAA0-AD74-A1F8-4271-20E87CE3C56B}"/>
              </a:ext>
            </a:extLst>
          </p:cNvPr>
          <p:cNvSpPr txBox="1"/>
          <p:nvPr/>
        </p:nvSpPr>
        <p:spPr>
          <a:xfrm>
            <a:off x="9626009" y="3272379"/>
            <a:ext cx="1848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C0392B">
                    <a:lumMod val="60000"/>
                    <a:lumOff val="40000"/>
                  </a:srgbClr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Communication</a:t>
            </a:r>
          </a:p>
        </p:txBody>
      </p:sp>
      <p:sp>
        <p:nvSpPr>
          <p:cNvPr id="22" name="Tekstvak 1">
            <a:extLst>
              <a:ext uri="{FF2B5EF4-FFF2-40B4-BE49-F238E27FC236}">
                <a16:creationId xmlns:a16="http://schemas.microsoft.com/office/drawing/2014/main" id="{D6AB5973-FC27-1B3E-0F20-953B0B4804EB}"/>
              </a:ext>
            </a:extLst>
          </p:cNvPr>
          <p:cNvSpPr txBox="1"/>
          <p:nvPr/>
        </p:nvSpPr>
        <p:spPr>
          <a:xfrm rot="16200000">
            <a:off x="-2026493" y="3912328"/>
            <a:ext cx="48292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Skills</a:t>
            </a:r>
          </a:p>
        </p:txBody>
      </p:sp>
      <p:pic>
        <p:nvPicPr>
          <p:cNvPr id="23" name="Afbeelding 28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6A3F0C0F-4F72-302A-2830-291066BE7D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480" y="248863"/>
            <a:ext cx="4271077" cy="2439852"/>
          </a:xfrm>
          <a:prstGeom prst="rect">
            <a:avLst/>
          </a:prstGeom>
        </p:spPr>
      </p:pic>
      <p:pic>
        <p:nvPicPr>
          <p:cNvPr id="24" name="Afbeelding 38">
            <a:extLst>
              <a:ext uri="{FF2B5EF4-FFF2-40B4-BE49-F238E27FC236}">
                <a16:creationId xmlns:a16="http://schemas.microsoft.com/office/drawing/2014/main" id="{1AFE6284-0203-6BA2-896B-FFB4FBE559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7702" y="914807"/>
            <a:ext cx="1408538" cy="1300826"/>
          </a:xfrm>
          <a:prstGeom prst="rect">
            <a:avLst/>
          </a:prstGeom>
        </p:spPr>
      </p:pic>
      <p:pic>
        <p:nvPicPr>
          <p:cNvPr id="25" name="Afbeelding 40">
            <a:extLst>
              <a:ext uri="{FF2B5EF4-FFF2-40B4-BE49-F238E27FC236}">
                <a16:creationId xmlns:a16="http://schemas.microsoft.com/office/drawing/2014/main" id="{956DF8C6-A270-9780-2291-0E9F36FA10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4038" y="873765"/>
            <a:ext cx="1393125" cy="1299288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36D8701-C0AD-33A3-705E-61E0AD3A24EE}"/>
              </a:ext>
            </a:extLst>
          </p:cNvPr>
          <p:cNvCxnSpPr/>
          <p:nvPr/>
        </p:nvCxnSpPr>
        <p:spPr>
          <a:xfrm>
            <a:off x="4629152" y="3779044"/>
            <a:ext cx="6991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E050FDE-82F7-079B-7C46-03DC461F53FA}"/>
              </a:ext>
            </a:extLst>
          </p:cNvPr>
          <p:cNvCxnSpPr/>
          <p:nvPr/>
        </p:nvCxnSpPr>
        <p:spPr>
          <a:xfrm>
            <a:off x="4629152" y="4518915"/>
            <a:ext cx="6991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2813042-CB8C-7B11-C695-398B0D783DC2}"/>
              </a:ext>
            </a:extLst>
          </p:cNvPr>
          <p:cNvCxnSpPr/>
          <p:nvPr/>
        </p:nvCxnSpPr>
        <p:spPr>
          <a:xfrm>
            <a:off x="4629152" y="5181693"/>
            <a:ext cx="6991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6164F68-F067-7A48-6798-75201F10423C}"/>
              </a:ext>
            </a:extLst>
          </p:cNvPr>
          <p:cNvCxnSpPr/>
          <p:nvPr/>
        </p:nvCxnSpPr>
        <p:spPr>
          <a:xfrm>
            <a:off x="9151146" y="3114675"/>
            <a:ext cx="0" cy="265033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84B0E58-F36E-5F82-2583-CDBC8947DE8F}"/>
              </a:ext>
            </a:extLst>
          </p:cNvPr>
          <p:cNvCxnSpPr/>
          <p:nvPr/>
        </p:nvCxnSpPr>
        <p:spPr>
          <a:xfrm>
            <a:off x="6713652" y="3114675"/>
            <a:ext cx="0" cy="265033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" descr="Home">
            <a:extLst>
              <a:ext uri="{FF2B5EF4-FFF2-40B4-BE49-F238E27FC236}">
                <a16:creationId xmlns:a16="http://schemas.microsoft.com/office/drawing/2014/main" id="{C53F97E8-6062-57A5-999D-3C577F51AC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6606" y="5872261"/>
            <a:ext cx="1618875" cy="811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6741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4500"/>
                            </p:stCondLst>
                            <p:childTnLst>
                              <p:par>
                                <p:cTn id="6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  <p:bldP spid="8" grpId="0"/>
      <p:bldP spid="9" grpId="0"/>
      <p:bldP spid="10" grpId="0"/>
      <p:bldP spid="12" grpId="0"/>
      <p:bldP spid="13" grpId="0"/>
      <p:bldP spid="14" grpId="0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10.xml><?xml version="1.0" encoding="utf-8"?>
<a:theme xmlns:a="http://schemas.openxmlformats.org/drawingml/2006/main" name="Balancing Act">
  <a:themeElements>
    <a:clrScheme name="Balancing Act">
      <a:dk1>
        <a:sysClr val="windowText" lastClr="000000"/>
      </a:dk1>
      <a:lt1>
        <a:sysClr val="window" lastClr="FFFFFF"/>
      </a:lt1>
      <a:dk2>
        <a:srgbClr val="8A4C5D"/>
      </a:dk2>
      <a:lt2>
        <a:srgbClr val="9E838E"/>
      </a:lt2>
      <a:accent1>
        <a:srgbClr val="C6ADB0"/>
      </a:accent1>
      <a:accent2>
        <a:srgbClr val="E3C0BF"/>
      </a:accent2>
      <a:accent3>
        <a:srgbClr val="D4937F"/>
      </a:accent3>
      <a:accent4>
        <a:srgbClr val="CCB87E"/>
      </a:accent4>
      <a:accent5>
        <a:srgbClr val="6667AB"/>
      </a:accent5>
      <a:accent6>
        <a:srgbClr val="86A094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1605075_TF78479028_Win32" id="{468DEE6C-74B7-4C4F-AFDF-900F4959E344}" vid="{D0CD087D-3784-4051-993A-DCD320E11131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3.xml><?xml version="1.0" encoding="utf-8"?>
<a:theme xmlns:a="http://schemas.openxmlformats.org/drawingml/2006/main" name="2__TilburgUniversity 2015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18DC7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_TilburgUniversity 2015" id="{1DFE9875-28DB-4F49-AC1A-788CDA025A11}" vid="{41D490DE-95AB-42B8-A49E-988EEADC7CB7}"/>
    </a:ext>
  </a:extLst>
</a:theme>
</file>

<file path=ppt/theme/theme4.xml><?xml version="1.0" encoding="utf-8"?>
<a:theme xmlns:a="http://schemas.openxmlformats.org/drawingml/2006/main" name="7_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5.xml><?xml version="1.0" encoding="utf-8"?>
<a:theme xmlns:a="http://schemas.openxmlformats.org/drawingml/2006/main" name="6_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6.xml><?xml version="1.0" encoding="utf-8"?>
<a:theme xmlns:a="http://schemas.openxmlformats.org/drawingml/2006/main" name="8_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7.xml><?xml version="1.0" encoding="utf-8"?>
<a:theme xmlns:a="http://schemas.openxmlformats.org/drawingml/2006/main" name="4_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8.xml><?xml version="1.0" encoding="utf-8"?>
<a:theme xmlns:a="http://schemas.openxmlformats.org/drawingml/2006/main" name="9__TilburgUniversity Blue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3F196BC3-C0A5-495D-A4BB-1DFBC6870C70}" vid="{A28840AE-8054-41A4-B4BA-43D2766DF150}"/>
    </a:ext>
  </a:extLst>
</a:theme>
</file>

<file path=ppt/theme/theme9.xml><?xml version="1.0" encoding="utf-8"?>
<a:theme xmlns:a="http://schemas.openxmlformats.org/drawingml/2006/main" name="Office Theme">
  <a:themeElements>
    <a:clrScheme name="Colors 1 Dark">
      <a:dk1>
        <a:srgbClr val="FFFFFF"/>
      </a:dk1>
      <a:lt1>
        <a:srgbClr val="3F3F3F"/>
      </a:lt1>
      <a:dk2>
        <a:srgbClr val="313C41"/>
      </a:dk2>
      <a:lt2>
        <a:srgbClr val="FFFFFF"/>
      </a:lt2>
      <a:accent1>
        <a:srgbClr val="2980B9"/>
      </a:accent1>
      <a:accent2>
        <a:srgbClr val="41B176"/>
      </a:accent2>
      <a:accent3>
        <a:srgbClr val="9BBB59"/>
      </a:accent3>
      <a:accent4>
        <a:srgbClr val="F39C12"/>
      </a:accent4>
      <a:accent5>
        <a:srgbClr val="C0392B"/>
      </a:accent5>
      <a:accent6>
        <a:srgbClr val="954F72"/>
      </a:accent6>
      <a:hlink>
        <a:srgbClr val="0563C1"/>
      </a:hlink>
      <a:folHlink>
        <a:srgbClr val="954F72"/>
      </a:folHlink>
    </a:clrScheme>
    <a:fontScheme name="Modern Automotive">
      <a:majorFont>
        <a:latin typeface="Montserrat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8B4DD370EC31429186F3AD49F0D3098F00D44DBCB9EB4F45278CB5C9765BE5299500A4858B360C6A491AA753F8BCA47AA910004E623AE0B855E041B1290D0883742A68" ma:contentTypeVersion="51" ma:contentTypeDescription="" ma:contentTypeScope="" ma:versionID="312617a34f197ec23cf0899b2747cf63">
  <xsd:schema xmlns:xsd="http://www.w3.org/2001/XMLSchema" xmlns:xs="http://www.w3.org/2001/XMLSchema" xmlns:p="http://schemas.microsoft.com/office/2006/metadata/properties" xmlns:ns1="54c4cd27-f286-408f-9ce0-33c1e0f3ab39" xmlns:ns2="c0e75541-f54f-401c-9a34-cb7fded40982" xmlns:ns3="bbc7a7a3-1361-4a32-9a19-e150eb4da2ba" xmlns:ns5="c9f238dd-bb73-4aef-a7a5-d644ad823e52" xmlns:ns6="ca82dde9-3436-4d3d-bddd-d31447390034" xmlns:ns7="http://schemas.microsoft.com/sharepoint/v4" targetNamespace="http://schemas.microsoft.com/office/2006/metadata/properties" ma:root="true" ma:fieldsID="3d4cef09d4c8b6946a1f5dd62d81f22b" ns1:_="" ns2:_="" ns3:_="" ns5:_="" ns6:_="" ns7:_="">
    <xsd:import namespace="54c4cd27-f286-408f-9ce0-33c1e0f3ab39"/>
    <xsd:import namespace="c0e75541-f54f-401c-9a34-cb7fded40982"/>
    <xsd:import namespace="bbc7a7a3-1361-4a32-9a19-e150eb4da2ba"/>
    <xsd:import namespace="c9f238dd-bb73-4aef-a7a5-d644ad823e52"/>
    <xsd:import namespace="ca82dde9-3436-4d3d-bddd-d31447390034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1:OECDKimStatus" minOccurs="0"/>
                <xsd:element ref="ns1:OECDKimBussinessContext" minOccurs="0"/>
                <xsd:element ref="ns1:OECDKimProvenance" minOccurs="0"/>
                <xsd:element ref="ns2:OECDExpirationDate" minOccurs="0"/>
                <xsd:element ref="ns3:OECDProjectLookup" minOccurs="0"/>
                <xsd:element ref="ns3:OECDProjectManager" minOccurs="0"/>
                <xsd:element ref="ns3:OECDProjectMembers" minOccurs="0"/>
                <xsd:element ref="ns3:OECDMainProject" minOccurs="0"/>
                <xsd:element ref="ns3:OECDPinnedBy" minOccurs="0"/>
                <xsd:element ref="ns5:eShareCountryTaxHTField0" minOccurs="0"/>
                <xsd:element ref="ns5:eShareTopicTaxHTField0" minOccurs="0"/>
                <xsd:element ref="ns5:eShareKeywordsTaxHTField0" minOccurs="0"/>
                <xsd:element ref="ns5:eShareCommitteeTaxHTField0" minOccurs="0"/>
                <xsd:element ref="ns5:eSharePWBTaxHTField0" minOccurs="0"/>
                <xsd:element ref="ns6:OECDlanguage" minOccurs="0"/>
                <xsd:element ref="ns6:TaxCatchAll" minOccurs="0"/>
                <xsd:element ref="ns6:TaxCatchAllLabel" minOccurs="0"/>
                <xsd:element ref="ns1:OECDMeetingDate" minOccurs="0"/>
                <xsd:element ref="ns3:b5734379896a43bfa9844e286e5b2c8d" minOccurs="0"/>
                <xsd:element ref="ns2:i38748f9a9154900b8a26f19217530ef" minOccurs="0"/>
                <xsd:element ref="ns3:fc991543b5234ffe9aadfa6c2c5f4ba5" minOccurs="0"/>
                <xsd:element ref="ns3:OECDSharingStatus" minOccurs="0"/>
                <xsd:element ref="ns3:OECDCommunityDocumentURL" minOccurs="0"/>
                <xsd:element ref="ns3:OECDCommunityDocumentID" minOccurs="0"/>
                <xsd:element ref="ns3:OECDTagsCache" minOccurs="0"/>
                <xsd:element ref="ns2:eShareHorizProjTaxHTField0" minOccurs="0"/>
                <xsd:element ref="ns2:OECDAllRelatedUsers" minOccurs="0"/>
                <xsd:element ref="ns3:SharedWithUsers" minOccurs="0"/>
                <xsd:element ref="ns7:IconOverlay" minOccurs="0"/>
                <xsd:element ref="ns1:OECDYe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c4cd27-f286-408f-9ce0-33c1e0f3ab39" elementFormDefault="qualified">
    <xsd:import namespace="http://schemas.microsoft.com/office/2006/documentManagement/types"/>
    <xsd:import namespace="http://schemas.microsoft.com/office/infopath/2007/PartnerControls"/>
    <xsd:element name="OECDKimStatus" ma:index="3" nillable="true" ma:displayName="Kim status" ma:default="Draft" ma:description="" ma:format="Dropdown" ma:hidden="true" ma:internalName="OECDKimStatus" ma:readOnly="false">
      <xsd:simpleType>
        <xsd:restriction base="dms:Choice">
          <xsd:enumeration value="Draft"/>
          <xsd:enumeration value="Final"/>
        </xsd:restriction>
      </xsd:simpleType>
    </xsd:element>
    <xsd:element name="OECDKimBussinessContext" ma:index="4" nillable="true" ma:displayName="Kim bussiness context" ma:description="" ma:hidden="true" ma:internalName="OECDKimBussinessContext" ma:readOnly="false">
      <xsd:simpleType>
        <xsd:restriction base="dms:Text"/>
      </xsd:simpleType>
    </xsd:element>
    <xsd:element name="OECDKimProvenance" ma:index="5" nillable="true" ma:displayName="Kim provenance" ma:description="" ma:hidden="true" ma:internalName="OECDKimProvenance" ma:readOnly="false">
      <xsd:simpleType>
        <xsd:restriction base="dms:Text">
          <xsd:maxLength value="255"/>
        </xsd:restriction>
      </xsd:simpleType>
    </xsd:element>
    <xsd:element name="OECDMeetingDate" ma:index="31" nillable="true" ma:displayName="Meeting Date" ma:default="" ma:format="DateOnly" ma:hidden="true" ma:internalName="OECDMeetingDate">
      <xsd:simpleType>
        <xsd:restriction base="dms:DateTime"/>
      </xsd:simpleType>
    </xsd:element>
    <xsd:element name="OECDYear" ma:index="44" nillable="true" ma:displayName="Year" ma:description="" ma:internalName="OECDYear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e75541-f54f-401c-9a34-cb7fded40982" elementFormDefault="qualified">
    <xsd:import namespace="http://schemas.microsoft.com/office/2006/documentManagement/types"/>
    <xsd:import namespace="http://schemas.microsoft.com/office/infopath/2007/PartnerControls"/>
    <xsd:element name="OECDExpirationDate" ma:index="8" nillable="true" ma:displayName="Highlights" ma:default="" ma:description="" ma:format="DateOnly" ma:hidden="true" ma:indexed="true" ma:internalName="OECDExpirationDate" ma:readOnly="false">
      <xsd:simpleType>
        <xsd:restriction base="dms:DateTime"/>
      </xsd:simpleType>
    </xsd:element>
    <xsd:element name="i38748f9a9154900b8a26f19217530ef" ma:index="33" nillable="true" ma:taxonomy="true" ma:internalName="i38748f9a9154900b8a26f19217530ef" ma:taxonomyFieldName="OECDHorizontalProjects" ma:displayName="Horizontal project" ma:readOnly="false" ma:default="" ma:fieldId="{238748f9-a915-4900-b8a2-6f19217530ef}" ma:taxonomyMulti="true" ma:sspId="27ec883c-a62c-444f-a935-fcddb579e39d" ma:termSetId="d3ca0e0e-65f9-44bf-9d98-5271504f6d6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ShareHorizProjTaxHTField0" ma:index="40" nillable="true" ma:displayName="OECDHorizontalProjects_0" ma:description="" ma:hidden="true" ma:internalName="eShareHorizProjTaxHTField0">
      <xsd:simpleType>
        <xsd:restriction base="dms:Note"/>
      </xsd:simpleType>
    </xsd:element>
    <xsd:element name="OECDAllRelatedUsers" ma:index="41" nillable="true" ma:displayName="All related users" ma:description="" ma:hidden="true" ma:internalName="OECDAllRelatedUs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c7a7a3-1361-4a32-9a19-e150eb4da2ba" elementFormDefault="qualified">
    <xsd:import namespace="http://schemas.microsoft.com/office/2006/documentManagement/types"/>
    <xsd:import namespace="http://schemas.microsoft.com/office/infopath/2007/PartnerControls"/>
    <xsd:element name="OECDProjectLookup" ma:index="9" nillable="true" ma:displayName="Project" ma:description="" ma:hidden="true" ma:indexed="true" ma:list="96bfc537-3f4a-49f4-8bd3-4998d9b1134f" ma:internalName="OECDProjectLookup" ma:readOnly="false" ma:showField="OECDShortProjectName" ma:web="bbc7a7a3-1361-4a32-9a19-e150eb4da2ba">
      <xsd:simpleType>
        <xsd:restriction base="dms:Lookup"/>
      </xsd:simpleType>
    </xsd:element>
    <xsd:element name="OECDProjectManager" ma:index="10" nillable="true" ma:displayName="Project manager" ma:description="" ma:hidden="true" ma:indexed="true" ma:internalName="OECDProjectManage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ECDProjectMembers" ma:index="11" nillable="true" ma:displayName="Project members" ma:description="" ma:hidden="true" ma:internalName="OECDProjectMembers" ma:readOnly="fals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ECDMainProject" ma:index="14" nillable="true" ma:displayName="Main project" ma:description="" ma:hidden="true" ma:indexed="true" ma:list="96bfc537-3f4a-49f4-8bd3-4998d9b1134f" ma:internalName="OECDMainProject" ma:readOnly="false" ma:showField="OECDShortProjectName">
      <xsd:simpleType>
        <xsd:restriction base="dms:Lookup"/>
      </xsd:simpleType>
    </xsd:element>
    <xsd:element name="OECDPinnedBy" ma:index="15" nillable="true" ma:displayName="Pinned by" ma:description="" ma:hidden="true" ma:internalName="OECDPinn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b5734379896a43bfa9844e286e5b2c8d" ma:index="32" nillable="true" ma:displayName="Deliverable owner_0" ma:hidden="true" ma:internalName="b5734379896a43bfa9844e286e5b2c8d">
      <xsd:simpleType>
        <xsd:restriction base="dms:Note"/>
      </xsd:simpleType>
    </xsd:element>
    <xsd:element name="fc991543b5234ffe9aadfa6c2c5f4ba5" ma:index="34" nillable="true" ma:taxonomy="true" ma:internalName="fc991543b5234ffe9aadfa6c2c5f4ba5" ma:taxonomyFieldName="OECDProjectOwnerStructure" ma:displayName="Project owner" ma:readOnly="false" ma:default="" ma:fieldId="fc991543-b523-4ffe-9aad-fa6c2c5f4ba5" ma:taxonomyMulti="true" ma:sspId="27ec883c-a62c-444f-a935-fcddb579e39d" ma:termSetId="aeec4dcb-19ee-4bc0-941f-681845b568c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ECDSharingStatus" ma:index="35" nillable="true" ma:displayName="O.N.E Document Sharing Status" ma:description="" ma:hidden="true" ma:internalName="OECDSharingStatus">
      <xsd:simpleType>
        <xsd:restriction base="dms:Text"/>
      </xsd:simpleType>
    </xsd:element>
    <xsd:element name="OECDCommunityDocumentURL" ma:index="36" nillable="true" ma:displayName="O.N.E Community Document URL" ma:description="" ma:hidden="true" ma:internalName="OECDCommunityDocumentURL">
      <xsd:simpleType>
        <xsd:restriction base="dms:Text"/>
      </xsd:simpleType>
    </xsd:element>
    <xsd:element name="OECDCommunityDocumentID" ma:index="37" nillable="true" ma:displayName="O.N.E Community Document ID" ma:decimals="0" ma:description="" ma:hidden="true" ma:internalName="OECDCommunityDocumentID">
      <xsd:simpleType>
        <xsd:restriction base="dms:Number"/>
      </xsd:simpleType>
    </xsd:element>
    <xsd:element name="OECDTagsCache" ma:index="39" nillable="true" ma:displayName="Tags cache" ma:description="" ma:hidden="true" ma:internalName="OECDTagsCache">
      <xsd:simpleType>
        <xsd:restriction base="dms:Note"/>
      </xsd:simpleType>
    </xsd:element>
    <xsd:element name="SharedWithUsers" ma:index="42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f238dd-bb73-4aef-a7a5-d644ad823e52" elementFormDefault="qualified">
    <xsd:import namespace="http://schemas.microsoft.com/office/2006/documentManagement/types"/>
    <xsd:import namespace="http://schemas.microsoft.com/office/infopath/2007/PartnerControls"/>
    <xsd:element name="eShareCountryTaxHTField0" ma:index="18" nillable="true" ma:taxonomy="true" ma:internalName="eShareCountryTaxHTField0" ma:taxonomyFieldName="OECDCountry" ma:displayName="Country" ma:readOnly="false" ma:default="" ma:fieldId="{aa366335-bba6-4f71-86c6-f91b1ae503c2}" ma:taxonomyMulti="true" ma:sspId="27ec883c-a62c-444f-a935-fcddb579e39d" ma:termSetId="e1026e78-e24d-4b33-a8f4-6ff75b8e5ad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ShareTopicTaxHTField0" ma:index="19" nillable="true" ma:taxonomy="true" ma:internalName="eShareTopicTaxHTField0" ma:taxonomyFieldName="OECDTopic" ma:displayName="Topic" ma:readOnly="false" ma:default="" ma:fieldId="{9b5335f8-765c-484a-86dd-d10580650a95}" ma:taxonomyMulti="true" ma:sspId="27ec883c-a62c-444f-a935-fcddb579e39d" ma:termSetId="d0043ed9-7fdc-4b21-8641-a864cc50d2b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ShareKeywordsTaxHTField0" ma:index="20" nillable="true" ma:taxonomy="true" ma:internalName="eShareKeywordsTaxHTField0" ma:taxonomyFieldName="OECDKeywords" ma:displayName="Keywords" ma:default="" ma:fieldId="{8a7c3663-990d-467c-b1b8-bb4b775674ad}" ma:taxonomyMulti="true" ma:sspId="27ec883c-a62c-444f-a935-fcddb579e39d" ma:termSetId="f51791ee-8e04-4654-a875-fc747102cd45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ShareCommitteeTaxHTField0" ma:index="21" nillable="true" ma:taxonomy="true" ma:internalName="eShareCommitteeTaxHTField0" ma:taxonomyFieldName="OECDCommittee" ma:displayName="Committee" ma:fieldId="{29494d90-e667-47b5-adc1-d09dfb5832ab}" ma:sspId="27ec883c-a62c-444f-a935-fcddb579e39d" ma:termSetId="87919aae-be42-4481-84cf-2389a5c84ac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SharePWBTaxHTField0" ma:index="22" nillable="true" ma:taxonomy="true" ma:internalName="eSharePWBTaxHTField0" ma:taxonomyFieldName="OECDPWB" ma:displayName="PWB" ma:fieldId="{fe327ce1-b783-48aa-9b0b-52ad26d1c9f6}" ma:sspId="27ec883c-a62c-444f-a935-fcddb579e39d" ma:termSetId="7bc7477d-4ef0-4820-a158-bb7b3cda138d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82dde9-3436-4d3d-bddd-d31447390034" elementFormDefault="qualified">
    <xsd:import namespace="http://schemas.microsoft.com/office/2006/documentManagement/types"/>
    <xsd:import namespace="http://schemas.microsoft.com/office/infopath/2007/PartnerControls"/>
    <xsd:element name="OECDlanguage" ma:index="27" nillable="true" ma:displayName="Document language" ma:default="English" ma:description="" ma:format="Dropdown" ma:hidden="true" ma:internalName="OECDlanguage" ma:readOnly="false">
      <xsd:simpleType>
        <xsd:restriction base="dms:Choice">
          <xsd:enumeration value="English"/>
          <xsd:enumeration value="French"/>
        </xsd:restriction>
      </xsd:simpleType>
    </xsd:element>
    <xsd:element name="TaxCatchAll" ma:index="29" nillable="true" ma:displayName="Taxonomy Catch All Column" ma:description="" ma:hidden="true" ma:list="{53561090-12f8-4042-a5cb-68ff0701e989}" ma:internalName="TaxCatchAll" ma:showField="CatchAllData" ma:web="c0e75541-f54f-401c-9a34-cb7fded409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30" nillable="true" ma:displayName="Taxonomy Catch All Column1" ma:description="" ma:hidden="true" ma:list="{53561090-12f8-4042-a5cb-68ff0701e989}" ma:internalName="TaxCatchAllLabel" ma:readOnly="true" ma:showField="CatchAllDataLabel" ma:web="c0e75541-f54f-401c-9a34-cb7fded409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4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4" ma:displayName="Content Type"/>
        <xsd:element ref="dc:title" minOccurs="0" maxOccurs="1" ma:index="16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27ec883c-a62c-444f-a935-fcddb579e39d" ContentTypeId="0x0101008B4DD370EC31429186F3AD49F0D3098F00D44DBCB9EB4F45278CB5C9765BE52995" PreviousValue="false"/>
</file>

<file path=customXml/item3.xml><?xml version="1.0" encoding="utf-8"?>
<?mso-contentType ?>
<CtFieldPriority xmlns="http://www.oecd.org/eshare/projectsentre/CtFieldPriority/" xmlns:i="http://www.w3.org/2001/XMLSchema-instance">
  <PriorityFields xmlns:a="http://schemas.microsoft.com/2003/10/Serialization/Arrays"/>
</CtFieldPriority>
</file>

<file path=customXml/item4.xml><?xml version="1.0" encoding="utf-8"?>
<?mso-contentType ?>
<FormTemplates xmlns="http://schemas.microsoft.com/sharepoint/v3/contenttype/forms">
  <Display>OECDListFormCollapsible</Display>
  <Edit>OECDListFormCollapsible</Edit>
  <New>OECDListFormCollapsible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ECDProjectMembers xmlns="bbc7a7a3-1361-4a32-9a19-e150eb4da2ba">
      <UserInfo>
        <DisplayName>STEWART Sorrel, CFE/LESI</DisplayName>
        <AccountId>2352</AccountId>
        <AccountType/>
      </UserInfo>
      <UserInfo>
        <DisplayName>SAZAMA Kristin, PAC/CHANNEL</DisplayName>
        <AccountId>3022</AccountId>
        <AccountType/>
      </UserInfo>
      <UserInfo>
        <DisplayName>PROTO Alessandra, CFE/LESI/TREN</DisplayName>
        <AccountId>102</AccountId>
        <AccountType/>
      </UserInfo>
      <UserInfo>
        <DisplayName>LANGENBUCHER Kristine, CFE/LESI</DisplayName>
        <AccountId>537</AccountId>
        <AccountType/>
      </UserInfo>
      <UserInfo>
        <DisplayName>CAMPESTRIN Elisa, CFE/LESI/TREN</DisplayName>
        <AccountId>156</AccountId>
        <AccountType/>
      </UserInfo>
      <UserInfo>
        <DisplayName>ARBEL Pauline, CFE/COM</DisplayName>
        <AccountId>1037</AccountId>
        <AccountType/>
      </UserInfo>
      <UserInfo>
        <DisplayName>RUBIN Anna, CFE/LESI</DisplayName>
        <AccountId>97</AccountId>
        <AccountType/>
      </UserInfo>
      <UserInfo>
        <DisplayName>FINKLE Jeffrey, CFE/LESI</DisplayName>
        <AccountId>3432</AccountId>
        <AccountType/>
      </UserInfo>
    </OECDProjectMembers>
    <OECDProjectManager xmlns="bbc7a7a3-1361-4a32-9a19-e150eb4da2ba">
      <UserInfo>
        <DisplayName/>
        <AccountId>97</AccountId>
        <AccountType/>
      </UserInfo>
    </OECDProjectManager>
    <eShareCountryTaxHTField0 xmlns="c9f238dd-bb73-4aef-a7a5-d644ad823e52">
      <Terms xmlns="http://schemas.microsoft.com/office/infopath/2007/PartnerControls"/>
    </eShareCountryTaxHTField0>
    <eShareTopicTaxHTField0 xmlns="c9f238dd-bb73-4aef-a7a5-d644ad823e52">
      <Terms xmlns="http://schemas.microsoft.com/office/infopath/2007/PartnerControls">
        <TermInfo xmlns="http://schemas.microsoft.com/office/infopath/2007/PartnerControls">
          <TermName xmlns="http://schemas.microsoft.com/office/infopath/2007/PartnerControls">Skills</TermName>
          <TermId xmlns="http://schemas.microsoft.com/office/infopath/2007/PartnerControls">cfb0c4bc-ef0d-44ad-811d-389e928c8141</TermId>
        </TermInfo>
      </Terms>
    </eShareTopicTaxHTField0>
    <OECDProjectLookup xmlns="bbc7a7a3-1361-4a32-9a19-e150eb4da2ba">86</OECDProjectLookup>
    <eSharePWBTaxHTField0 xmlns="c9f238dd-bb73-4aef-a7a5-d644ad823e52">
      <Terms xmlns="http://schemas.microsoft.com/office/infopath/2007/PartnerControls">
        <TermInfo xmlns="http://schemas.microsoft.com/office/infopath/2007/PartnerControls">
          <TermName xmlns="http://schemas.microsoft.com/office/infopath/2007/PartnerControls">2 Provide Employment Opportunities for All, Improve Human Capital and Social Cohesion and Promote a Sustainable Environment</TermName>
          <TermId xmlns="http://schemas.microsoft.com/office/infopath/2007/PartnerControls">1928313d-2f7a-47ea-b110-48abfe40c6c9</TermId>
        </TermInfo>
      </Terms>
    </eSharePWBTaxHTField0>
    <TaxCatchAll xmlns="ca82dde9-3436-4d3d-bddd-d31447390034">
      <Value>587</Value>
      <Value>360</Value>
    </TaxCatchAll>
    <eShareKeywordsTaxHTField0 xmlns="c9f238dd-bb73-4aef-a7a5-d644ad823e52">
      <Terms xmlns="http://schemas.microsoft.com/office/infopath/2007/PartnerControls"/>
    </eShareKeywordsTaxHTField0>
    <eShareCommitteeTaxHTField0 xmlns="c9f238dd-bb73-4aef-a7a5-d644ad823e52">
      <Terms xmlns="http://schemas.microsoft.com/office/infopath/2007/PartnerControls"/>
    </eShareCommitteeTaxHTField0>
    <i38748f9a9154900b8a26f19217530ef xmlns="c0e75541-f54f-401c-9a34-cb7fded40982">
      <Terms xmlns="http://schemas.microsoft.com/office/infopath/2007/PartnerControls"/>
    </i38748f9a9154900b8a26f19217530ef>
    <fc991543b5234ffe9aadfa6c2c5f4ba5 xmlns="bbc7a7a3-1361-4a32-9a19-e150eb4da2ba">
      <Terms xmlns="http://schemas.microsoft.com/office/infopath/2007/PartnerControls"/>
    </fc991543b5234ffe9aadfa6c2c5f4ba5>
    <OECDSharingStatus xmlns="bbc7a7a3-1361-4a32-9a19-e150eb4da2ba" xsi:nil="true"/>
    <OECDKimBussinessContext xmlns="54c4cd27-f286-408f-9ce0-33c1e0f3ab39" xsi:nil="true"/>
    <OECDlanguage xmlns="ca82dde9-3436-4d3d-bddd-d31447390034">English</OECDlanguage>
    <IconOverlay xmlns="http://schemas.microsoft.com/sharepoint/v4" xsi:nil="true"/>
    <OECDMainProject xmlns="bbc7a7a3-1361-4a32-9a19-e150eb4da2ba" xsi:nil="true"/>
    <OECDPinnedBy xmlns="bbc7a7a3-1361-4a32-9a19-e150eb4da2ba">
      <UserInfo>
        <DisplayName/>
        <AccountId xsi:nil="true"/>
        <AccountType/>
      </UserInfo>
    </OECDPinnedBy>
    <b5734379896a43bfa9844e286e5b2c8d xmlns="bbc7a7a3-1361-4a32-9a19-e150eb4da2ba" xsi:nil="true"/>
    <OECDExpirationDate xmlns="c0e75541-f54f-401c-9a34-cb7fded40982" xsi:nil="true"/>
    <OECDMeetingDate xmlns="54c4cd27-f286-408f-9ce0-33c1e0f3ab39" xsi:nil="true"/>
    <OECDTagsCache xmlns="bbc7a7a3-1361-4a32-9a19-e150eb4da2ba" xsi:nil="true"/>
    <eShareHorizProjTaxHTField0 xmlns="c0e75541-f54f-401c-9a34-cb7fded40982" xsi:nil="true"/>
    <OECDYear xmlns="54c4cd27-f286-408f-9ce0-33c1e0f3ab39" xsi:nil="true"/>
    <OECDKimProvenance xmlns="54c4cd27-f286-408f-9ce0-33c1e0f3ab39" xsi:nil="true"/>
    <OECDCommunityDocumentURL xmlns="bbc7a7a3-1361-4a32-9a19-e150eb4da2ba" xsi:nil="true"/>
    <OECDKimStatus xmlns="54c4cd27-f286-408f-9ce0-33c1e0f3ab39">Draft</OECDKimStatus>
    <OECDCommunityDocumentID xmlns="bbc7a7a3-1361-4a32-9a19-e150eb4da2ba" xsi:nil="true"/>
    <OECDAllRelatedUsers xmlns="c0e75541-f54f-401c-9a34-cb7fded40982">
      <UserInfo>
        <DisplayName/>
        <AccountId xsi:nil="true"/>
        <AccountType/>
      </UserInfo>
    </OECDAllRelatedUsers>
  </documentManagement>
</p:properties>
</file>

<file path=customXml/itemProps1.xml><?xml version="1.0" encoding="utf-8"?>
<ds:datastoreItem xmlns:ds="http://schemas.openxmlformats.org/officeDocument/2006/customXml" ds:itemID="{0083BABE-BC73-47A2-B41D-EAB19F97A512}"/>
</file>

<file path=customXml/itemProps2.xml><?xml version="1.0" encoding="utf-8"?>
<ds:datastoreItem xmlns:ds="http://schemas.openxmlformats.org/officeDocument/2006/customXml" ds:itemID="{37FD956C-166C-4E7C-8CB7-9773C18C560B}"/>
</file>

<file path=customXml/itemProps3.xml><?xml version="1.0" encoding="utf-8"?>
<ds:datastoreItem xmlns:ds="http://schemas.openxmlformats.org/officeDocument/2006/customXml" ds:itemID="{5F48A078-BEBE-4E0D-ADE5-4726710F3FF3}"/>
</file>

<file path=customXml/itemProps4.xml><?xml version="1.0" encoding="utf-8"?>
<ds:datastoreItem xmlns:ds="http://schemas.openxmlformats.org/officeDocument/2006/customXml" ds:itemID="{66F847CF-19F7-4EAD-AB3E-E666E0CAA4D0}"/>
</file>

<file path=customXml/itemProps5.xml><?xml version="1.0" encoding="utf-8"?>
<ds:datastoreItem xmlns:ds="http://schemas.openxmlformats.org/officeDocument/2006/customXml" ds:itemID="{8D014AFB-EF39-48A8-B3C4-798E173200BB}"/>
</file>

<file path=docProps/app.xml><?xml version="1.0" encoding="utf-8"?>
<Properties xmlns="http://schemas.openxmlformats.org/officeDocument/2006/extended-properties" xmlns:vt="http://schemas.openxmlformats.org/officeDocument/2006/docPropsVTypes">
  <Template>_TilburgUniversity</Template>
  <TotalTime>128</TotalTime>
  <Words>359</Words>
  <Application>Microsoft Office PowerPoint</Application>
  <PresentationFormat>Breedbeeld</PresentationFormat>
  <Paragraphs>152</Paragraphs>
  <Slides>13</Slides>
  <Notes>3</Notes>
  <HiddenSlides>0</HiddenSlides>
  <MMClips>2</MMClips>
  <ScaleCrop>false</ScaleCrop>
  <HeadingPairs>
    <vt:vector size="8" baseType="variant">
      <vt:variant>
        <vt:lpstr>Gebruikte lettertypen</vt:lpstr>
      </vt:variant>
      <vt:variant>
        <vt:i4>10</vt:i4>
      </vt:variant>
      <vt:variant>
        <vt:lpstr>Thema</vt:lpstr>
      </vt:variant>
      <vt:variant>
        <vt:i4>10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3</vt:i4>
      </vt:variant>
    </vt:vector>
  </HeadingPairs>
  <TitlesOfParts>
    <vt:vector size="34" baseType="lpstr">
      <vt:lpstr>Arial</vt:lpstr>
      <vt:lpstr>Calibri</vt:lpstr>
      <vt:lpstr>Karbon</vt:lpstr>
      <vt:lpstr>Montserrat</vt:lpstr>
      <vt:lpstr>Open Sans Light</vt:lpstr>
      <vt:lpstr>ScalaSans</vt:lpstr>
      <vt:lpstr>Segoe UI</vt:lpstr>
      <vt:lpstr>Segoe UI Light</vt:lpstr>
      <vt:lpstr>Source Sans Pro</vt:lpstr>
      <vt:lpstr>Times New Roman</vt:lpstr>
      <vt:lpstr>1__TilburgUniversity Blue</vt:lpstr>
      <vt:lpstr>_TilburgUniversity Blue</vt:lpstr>
      <vt:lpstr>2__TilburgUniversity 2015</vt:lpstr>
      <vt:lpstr>7__TilburgUniversity Blue</vt:lpstr>
      <vt:lpstr>6__TilburgUniversity Blue</vt:lpstr>
      <vt:lpstr>8__TilburgUniversity Blue</vt:lpstr>
      <vt:lpstr>4__TilburgUniversity Blue</vt:lpstr>
      <vt:lpstr>9__TilburgUniversity Blue</vt:lpstr>
      <vt:lpstr>Office Theme</vt:lpstr>
      <vt:lpstr>Balancing Act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SKILL = Expertise * Behavioural Repertoire</vt:lpstr>
      <vt:lpstr>Behavioural Repertoire</vt:lpstr>
      <vt:lpstr>PowerPoint-presentatie</vt:lpstr>
      <vt:lpstr>O*NET Skills</vt:lpstr>
      <vt:lpstr>PowerPoint-presentatie</vt:lpstr>
      <vt:lpstr>Predictors</vt:lpstr>
      <vt:lpstr>PowerPoint-presentatie</vt:lpstr>
    </vt:vector>
  </TitlesOfParts>
  <Company>Tilburg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O Nederlandse Universiteiten en flexicurity</dc:title>
  <dc:creator>J.H.N. Janssen</dc:creator>
  <cp:lastModifiedBy>Ronald Lievens</cp:lastModifiedBy>
  <cp:revision>122</cp:revision>
  <dcterms:created xsi:type="dcterms:W3CDTF">2015-10-26T13:49:26Z</dcterms:created>
  <dcterms:modified xsi:type="dcterms:W3CDTF">2022-06-27T10:3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ECDCountry">
    <vt:lpwstr/>
  </property>
  <property fmtid="{D5CDD505-2E9C-101B-9397-08002B2CF9AE}" pid="3" name="OECDTopic">
    <vt:lpwstr>360;#Skills|cfb0c4bc-ef0d-44ad-811d-389e928c8141</vt:lpwstr>
  </property>
  <property fmtid="{D5CDD505-2E9C-101B-9397-08002B2CF9AE}" pid="4" name="OECDCommittee">
    <vt:lpwstr/>
  </property>
  <property fmtid="{D5CDD505-2E9C-101B-9397-08002B2CF9AE}" pid="5" name="ContentTypeId">
    <vt:lpwstr>0x0101008B4DD370EC31429186F3AD49F0D3098F00D44DBCB9EB4F45278CB5C9765BE5299500A4858B360C6A491AA753F8BCA47AA910004E623AE0B855E041B1290D0883742A68</vt:lpwstr>
  </property>
  <property fmtid="{D5CDD505-2E9C-101B-9397-08002B2CF9AE}" pid="6" name="OECDPWB">
    <vt:lpwstr>587;#2 Provide Employment Opportunities for All, Improve Human Capital and Social Cohesion and Promote a Sustainable Environment|1928313d-2f7a-47ea-b110-48abfe40c6c9</vt:lpwstr>
  </property>
  <property fmtid="{D5CDD505-2E9C-101B-9397-08002B2CF9AE}" pid="7" name="eShareOrganisationTaxHTField0">
    <vt:lpwstr/>
  </property>
  <property fmtid="{D5CDD505-2E9C-101B-9397-08002B2CF9AE}" pid="8" name="OECDKeywords">
    <vt:lpwstr/>
  </property>
  <property fmtid="{D5CDD505-2E9C-101B-9397-08002B2CF9AE}" pid="9" name="OECDHorizontalProjects">
    <vt:lpwstr/>
  </property>
  <property fmtid="{D5CDD505-2E9C-101B-9397-08002B2CF9AE}" pid="10" name="d0b6f6ac229144c2899590f0436d9385">
    <vt:lpwstr/>
  </property>
  <property fmtid="{D5CDD505-2E9C-101B-9397-08002B2CF9AE}" pid="11" name="OECDProject">
    <vt:lpwstr/>
  </property>
  <property fmtid="{D5CDD505-2E9C-101B-9397-08002B2CF9AE}" pid="12" name="OECDProjectOwnerStructure">
    <vt:lpwstr/>
  </property>
  <property fmtid="{D5CDD505-2E9C-101B-9397-08002B2CF9AE}" pid="13" name="OECDOrganisation">
    <vt:lpwstr/>
  </property>
</Properties>
</file>